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3"/>
  </p:notesMasterIdLst>
  <p:sldIdLst>
    <p:sldId id="267" r:id="rId5"/>
    <p:sldId id="275" r:id="rId6"/>
    <p:sldId id="269" r:id="rId7"/>
    <p:sldId id="259" r:id="rId8"/>
    <p:sldId id="270" r:id="rId9"/>
    <p:sldId id="271" r:id="rId10"/>
    <p:sldId id="273" r:id="rId11"/>
    <p:sldId id="274" r:id="rId12"/>
  </p:sldIdLst>
  <p:sldSz cx="12192000" cy="6858000"/>
  <p:notesSz cx="6858000" cy="287655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m Mellor" initials="KM" lastIdx="4" clrIdx="0">
    <p:extLst>
      <p:ext uri="{19B8F6BF-5375-455C-9EA6-DF929625EA0E}">
        <p15:presenceInfo xmlns:p15="http://schemas.microsoft.com/office/powerpoint/2012/main" userId="S::kim.mellor@052gc.onmicrosoft.com::35b58b08-79b1-4f06-84e8-8f60868646a9" providerId="AD"/>
      </p:ext>
    </p:extLst>
  </p:cmAuthor>
  <p:cmAuthor id="2" name="GF" initials="GF" lastIdx="9" clrIdx="1">
    <p:extLst>
      <p:ext uri="{19B8F6BF-5375-455C-9EA6-DF929625EA0E}">
        <p15:presenceInfo xmlns:p15="http://schemas.microsoft.com/office/powerpoint/2012/main" userId="GF"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3561"/>
    <a:srgbClr val="382A4C"/>
    <a:srgbClr val="660033"/>
    <a:srgbClr val="CC00CC"/>
    <a:srgbClr val="CC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F6B424-F3C4-472A-BA54-5D5929F67E19}" v="10" dt="2020-04-14T14:28:16.899"/>
    <p1510:client id="{34CBD47F-573F-4C1B-967F-D444F945E98A}" v="97" dt="2020-04-07T19:00:37.874"/>
    <p1510:client id="{522E0F51-EC37-426B-BACE-1EC3EBAB979E}" v="103" dt="2020-04-14T14:40:35.224"/>
    <p1510:client id="{560B5A11-BED9-4A2A-9E00-9E61C6D00764}" v="9" dt="2020-04-07T15:25:28.775"/>
    <p1510:client id="{67D3853A-36B6-446B-87E2-682FB3EA1AEF}" v="33" dt="2020-04-07T12:58:16.227"/>
    <p1510:client id="{716D98F0-4C48-49DB-94AB-03C244A020D4}" v="126" dt="2020-04-21T14:16:06.871"/>
    <p1510:client id="{7AD84078-BF11-43A2-93B8-AA6D0E182693}" v="14" dt="2020-04-14T14:07:10.495"/>
    <p1510:client id="{A0399818-0FAD-4A92-810E-BAA3087A1CDC}" v="111" dt="2020-04-21T16:18:16.679"/>
    <p1510:client id="{B06424C0-EC62-4048-B63A-A827FE85E51F}" v="169" dt="2020-04-21T13:40:07.368"/>
    <p1510:client id="{F6F14D05-7176-4C28-9136-751A20150763}" v="8" dt="2020-04-14T17:05:06.054"/>
    <p1510:client id="{FE2E2C7B-C71C-45CF-9122-914E2A90842D}" v="1" dt="2020-04-07T13:51:02.1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57388" autoAdjust="0"/>
  </p:normalViewPr>
  <p:slideViewPr>
    <p:cSldViewPr snapToGrid="0">
      <p:cViewPr varScale="1">
        <p:scale>
          <a:sx n="70" d="100"/>
          <a:sy n="70" d="100"/>
        </p:scale>
        <p:origin x="2118" y="60"/>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hanie Taylor" userId="S::stephanie.taylor@052gc.onmicrosoft.com::85051aa4-4f80-4490-864d-9044cf428a20" providerId="AD" clId="Web-{27F6B424-F3C4-472A-BA54-5D5929F67E19}"/>
    <pc:docChg chg="modSld">
      <pc:chgData name="Stephanie Taylor" userId="S::stephanie.taylor@052gc.onmicrosoft.com::85051aa4-4f80-4490-864d-9044cf428a20" providerId="AD" clId="Web-{27F6B424-F3C4-472A-BA54-5D5929F67E19}" dt="2020-04-14T14:28:16.899" v="9" actId="20577"/>
      <pc:docMkLst>
        <pc:docMk/>
      </pc:docMkLst>
      <pc:sldChg chg="modSp">
        <pc:chgData name="Stephanie Taylor" userId="S::stephanie.taylor@052gc.onmicrosoft.com::85051aa4-4f80-4490-864d-9044cf428a20" providerId="AD" clId="Web-{27F6B424-F3C4-472A-BA54-5D5929F67E19}" dt="2020-04-14T14:28:16.899" v="8" actId="20577"/>
        <pc:sldMkLst>
          <pc:docMk/>
          <pc:sldMk cId="4282411546" sldId="259"/>
        </pc:sldMkLst>
        <pc:spChg chg="mod">
          <ac:chgData name="Stephanie Taylor" userId="S::stephanie.taylor@052gc.onmicrosoft.com::85051aa4-4f80-4490-864d-9044cf428a20" providerId="AD" clId="Web-{27F6B424-F3C4-472A-BA54-5D5929F67E19}" dt="2020-04-14T14:28:16.899" v="8" actId="20577"/>
          <ac:spMkLst>
            <pc:docMk/>
            <pc:sldMk cId="4282411546" sldId="259"/>
            <ac:spMk id="19" creationId="{00000000-0000-0000-0000-000000000000}"/>
          </ac:spMkLst>
        </pc:spChg>
      </pc:sldChg>
    </pc:docChg>
  </pc:docChgLst>
  <pc:docChgLst>
    <pc:chgData name="Stephanie Taylor" userId="S::stephanie.taylor@052gc.onmicrosoft.com::85051aa4-4f80-4490-864d-9044cf428a20" providerId="AD" clId="Web-{522E0F51-EC37-426B-BACE-1EC3EBAB979E}"/>
    <pc:docChg chg="modSld">
      <pc:chgData name="Stephanie Taylor" userId="S::stephanie.taylor@052gc.onmicrosoft.com::85051aa4-4f80-4490-864d-9044cf428a20" providerId="AD" clId="Web-{522E0F51-EC37-426B-BACE-1EC3EBAB979E}" dt="2020-04-14T14:40:24.692" v="97"/>
      <pc:docMkLst>
        <pc:docMk/>
      </pc:docMkLst>
      <pc:sldChg chg="modSp">
        <pc:chgData name="Stephanie Taylor" userId="S::stephanie.taylor@052gc.onmicrosoft.com::85051aa4-4f80-4490-864d-9044cf428a20" providerId="AD" clId="Web-{522E0F51-EC37-426B-BACE-1EC3EBAB979E}" dt="2020-04-14T14:40:24.692" v="97"/>
        <pc:sldMkLst>
          <pc:docMk/>
          <pc:sldMk cId="2138355075" sldId="275"/>
        </pc:sldMkLst>
        <pc:graphicFrameChg chg="mod">
          <ac:chgData name="Stephanie Taylor" userId="S::stephanie.taylor@052gc.onmicrosoft.com::85051aa4-4f80-4490-864d-9044cf428a20" providerId="AD" clId="Web-{522E0F51-EC37-426B-BACE-1EC3EBAB979E}" dt="2020-04-14T14:34:42.754" v="85" actId="1076"/>
          <ac:graphicFrameMkLst>
            <pc:docMk/>
            <pc:sldMk cId="2138355075" sldId="275"/>
            <ac:graphicFrameMk id="2" creationId="{00000000-0000-0000-0000-000000000000}"/>
          </ac:graphicFrameMkLst>
        </pc:graphicFrameChg>
        <pc:graphicFrameChg chg="mod modGraphic">
          <ac:chgData name="Stephanie Taylor" userId="S::stephanie.taylor@052gc.onmicrosoft.com::85051aa4-4f80-4490-864d-9044cf428a20" providerId="AD" clId="Web-{522E0F51-EC37-426B-BACE-1EC3EBAB979E}" dt="2020-04-14T14:40:24.692" v="97"/>
          <ac:graphicFrameMkLst>
            <pc:docMk/>
            <pc:sldMk cId="2138355075" sldId="275"/>
            <ac:graphicFrameMk id="5" creationId="{00000000-0000-0000-0000-000000000000}"/>
          </ac:graphicFrameMkLst>
        </pc:graphicFrameChg>
      </pc:sldChg>
    </pc:docChg>
  </pc:docChgLst>
  <pc:docChgLst>
    <pc:chgData name="Christine Racicot" userId="S::christine.racicot@052gc.onmicrosoft.com::c5d865ce-0ebe-43f6-abd9-32cbeae29ffa" providerId="AD" clId="Web-{560B5A11-BED9-4A2A-9E00-9E61C6D00764}"/>
    <pc:docChg chg="modSld">
      <pc:chgData name="Christine Racicot" userId="S::christine.racicot@052gc.onmicrosoft.com::c5d865ce-0ebe-43f6-abd9-32cbeae29ffa" providerId="AD" clId="Web-{560B5A11-BED9-4A2A-9E00-9E61C6D00764}" dt="2020-04-07T15:25:28.775" v="7" actId="20577"/>
      <pc:docMkLst>
        <pc:docMk/>
      </pc:docMkLst>
      <pc:sldChg chg="modSp">
        <pc:chgData name="Christine Racicot" userId="S::christine.racicot@052gc.onmicrosoft.com::c5d865ce-0ebe-43f6-abd9-32cbeae29ffa" providerId="AD" clId="Web-{560B5A11-BED9-4A2A-9E00-9E61C6D00764}" dt="2020-04-07T15:25:28.775" v="6" actId="20577"/>
        <pc:sldMkLst>
          <pc:docMk/>
          <pc:sldMk cId="4282411546" sldId="259"/>
        </pc:sldMkLst>
        <pc:spChg chg="mod">
          <ac:chgData name="Christine Racicot" userId="S::christine.racicot@052gc.onmicrosoft.com::c5d865ce-0ebe-43f6-abd9-32cbeae29ffa" providerId="AD" clId="Web-{560B5A11-BED9-4A2A-9E00-9E61C6D00764}" dt="2020-04-07T15:25:28.775" v="6" actId="20577"/>
          <ac:spMkLst>
            <pc:docMk/>
            <pc:sldMk cId="4282411546" sldId="259"/>
            <ac:spMk id="19" creationId="{00000000-0000-0000-0000-000000000000}"/>
          </ac:spMkLst>
        </pc:spChg>
      </pc:sldChg>
    </pc:docChg>
  </pc:docChgLst>
  <pc:docChgLst>
    <pc:chgData name="Stephanie Taylor" userId="S::stephanie.taylor@052gc.onmicrosoft.com::85051aa4-4f80-4490-864d-9044cf428a20" providerId="AD" clId="Web-{F6F14D05-7176-4C28-9136-751A20150763}"/>
    <pc:docChg chg="modSld">
      <pc:chgData name="Stephanie Taylor" userId="S::stephanie.taylor@052gc.onmicrosoft.com::85051aa4-4f80-4490-864d-9044cf428a20" providerId="AD" clId="Web-{F6F14D05-7176-4C28-9136-751A20150763}" dt="2020-04-14T17:05:06.054" v="7" actId="1076"/>
      <pc:docMkLst>
        <pc:docMk/>
      </pc:docMkLst>
      <pc:sldChg chg="modSp">
        <pc:chgData name="Stephanie Taylor" userId="S::stephanie.taylor@052gc.onmicrosoft.com::85051aa4-4f80-4490-864d-9044cf428a20" providerId="AD" clId="Web-{F6F14D05-7176-4C28-9136-751A20150763}" dt="2020-04-14T17:05:06.054" v="7" actId="1076"/>
        <pc:sldMkLst>
          <pc:docMk/>
          <pc:sldMk cId="235025381" sldId="271"/>
        </pc:sldMkLst>
        <pc:spChg chg="mod">
          <ac:chgData name="Stephanie Taylor" userId="S::stephanie.taylor@052gc.onmicrosoft.com::85051aa4-4f80-4490-864d-9044cf428a20" providerId="AD" clId="Web-{F6F14D05-7176-4C28-9136-751A20150763}" dt="2020-04-14T17:05:06.054" v="7" actId="1076"/>
          <ac:spMkLst>
            <pc:docMk/>
            <pc:sldMk cId="235025381" sldId="271"/>
            <ac:spMk id="13" creationId="{00000000-0000-0000-0000-000000000000}"/>
          </ac:spMkLst>
        </pc:spChg>
        <pc:spChg chg="mod">
          <ac:chgData name="Stephanie Taylor" userId="S::stephanie.taylor@052gc.onmicrosoft.com::85051aa4-4f80-4490-864d-9044cf428a20" providerId="AD" clId="Web-{F6F14D05-7176-4C28-9136-751A20150763}" dt="2020-04-14T17:05:01.445" v="6" actId="1076"/>
          <ac:spMkLst>
            <pc:docMk/>
            <pc:sldMk cId="235025381" sldId="271"/>
            <ac:spMk id="14" creationId="{00000000-0000-0000-0000-000000000000}"/>
          </ac:spMkLst>
        </pc:spChg>
      </pc:sldChg>
    </pc:docChg>
  </pc:docChgLst>
  <pc:docChgLst>
    <pc:chgData name="Stephanie Taylor" userId="S::stephanie.taylor@052gc.onmicrosoft.com::85051aa4-4f80-4490-864d-9044cf428a20" providerId="AD" clId="Web-{B06424C0-EC62-4048-B63A-A827FE85E51F}"/>
    <pc:docChg chg="modSld">
      <pc:chgData name="Stephanie Taylor" userId="S::stephanie.taylor@052gc.onmicrosoft.com::85051aa4-4f80-4490-864d-9044cf428a20" providerId="AD" clId="Web-{B06424C0-EC62-4048-B63A-A827FE85E51F}" dt="2020-04-21T13:40:05.477" v="178"/>
      <pc:docMkLst>
        <pc:docMk/>
      </pc:docMkLst>
      <pc:sldChg chg="modSp">
        <pc:chgData name="Stephanie Taylor" userId="S::stephanie.taylor@052gc.onmicrosoft.com::85051aa4-4f80-4490-864d-9044cf428a20" providerId="AD" clId="Web-{B06424C0-EC62-4048-B63A-A827FE85E51F}" dt="2020-04-21T13:36:57.273" v="100" actId="20577"/>
        <pc:sldMkLst>
          <pc:docMk/>
          <pc:sldMk cId="4282411546" sldId="259"/>
        </pc:sldMkLst>
        <pc:spChg chg="mod">
          <ac:chgData name="Stephanie Taylor" userId="S::stephanie.taylor@052gc.onmicrosoft.com::85051aa4-4f80-4490-864d-9044cf428a20" providerId="AD" clId="Web-{B06424C0-EC62-4048-B63A-A827FE85E51F}" dt="2020-04-21T13:36:57.273" v="100" actId="20577"/>
          <ac:spMkLst>
            <pc:docMk/>
            <pc:sldMk cId="4282411546" sldId="259"/>
            <ac:spMk id="10" creationId="{00000000-0000-0000-0000-000000000000}"/>
          </ac:spMkLst>
        </pc:spChg>
      </pc:sldChg>
      <pc:sldChg chg="modNotes">
        <pc:chgData name="Stephanie Taylor" userId="S::stephanie.taylor@052gc.onmicrosoft.com::85051aa4-4f80-4490-864d-9044cf428a20" providerId="AD" clId="Web-{B06424C0-EC62-4048-B63A-A827FE85E51F}" dt="2020-04-21T13:36:20.570" v="77"/>
        <pc:sldMkLst>
          <pc:docMk/>
          <pc:sldMk cId="2179226575" sldId="269"/>
        </pc:sldMkLst>
      </pc:sldChg>
      <pc:sldChg chg="modSp">
        <pc:chgData name="Stephanie Taylor" userId="S::stephanie.taylor@052gc.onmicrosoft.com::85051aa4-4f80-4490-864d-9044cf428a20" providerId="AD" clId="Web-{B06424C0-EC62-4048-B63A-A827FE85E51F}" dt="2020-04-21T13:37:07.554" v="104" actId="20577"/>
        <pc:sldMkLst>
          <pc:docMk/>
          <pc:sldMk cId="101528459" sldId="270"/>
        </pc:sldMkLst>
        <pc:spChg chg="mod">
          <ac:chgData name="Stephanie Taylor" userId="S::stephanie.taylor@052gc.onmicrosoft.com::85051aa4-4f80-4490-864d-9044cf428a20" providerId="AD" clId="Web-{B06424C0-EC62-4048-B63A-A827FE85E51F}" dt="2020-04-21T13:37:07.554" v="104" actId="20577"/>
          <ac:spMkLst>
            <pc:docMk/>
            <pc:sldMk cId="101528459" sldId="270"/>
            <ac:spMk id="16" creationId="{00000000-0000-0000-0000-000000000000}"/>
          </ac:spMkLst>
        </pc:spChg>
      </pc:sldChg>
      <pc:sldChg chg="modSp modNotes">
        <pc:chgData name="Stephanie Taylor" userId="S::stephanie.taylor@052gc.onmicrosoft.com::85051aa4-4f80-4490-864d-9044cf428a20" providerId="AD" clId="Web-{B06424C0-EC62-4048-B63A-A827FE85E51F}" dt="2020-04-21T13:37:55.304" v="131"/>
        <pc:sldMkLst>
          <pc:docMk/>
          <pc:sldMk cId="235025381" sldId="271"/>
        </pc:sldMkLst>
        <pc:spChg chg="mod">
          <ac:chgData name="Stephanie Taylor" userId="S::stephanie.taylor@052gc.onmicrosoft.com::85051aa4-4f80-4490-864d-9044cf428a20" providerId="AD" clId="Web-{B06424C0-EC62-4048-B63A-A827FE85E51F}" dt="2020-04-21T13:37:16.304" v="122" actId="20577"/>
          <ac:spMkLst>
            <pc:docMk/>
            <pc:sldMk cId="235025381" sldId="271"/>
            <ac:spMk id="16" creationId="{00000000-0000-0000-0000-000000000000}"/>
          </ac:spMkLst>
        </pc:spChg>
      </pc:sldChg>
      <pc:sldChg chg="modSp modNotes">
        <pc:chgData name="Stephanie Taylor" userId="S::stephanie.taylor@052gc.onmicrosoft.com::85051aa4-4f80-4490-864d-9044cf428a20" providerId="AD" clId="Web-{B06424C0-EC62-4048-B63A-A827FE85E51F}" dt="2020-04-21T13:39:30.149" v="156"/>
        <pc:sldMkLst>
          <pc:docMk/>
          <pc:sldMk cId="2713710551" sldId="273"/>
        </pc:sldMkLst>
        <pc:spChg chg="mod">
          <ac:chgData name="Stephanie Taylor" userId="S::stephanie.taylor@052gc.onmicrosoft.com::85051aa4-4f80-4490-864d-9044cf428a20" providerId="AD" clId="Web-{B06424C0-EC62-4048-B63A-A827FE85E51F}" dt="2020-04-21T13:37:29.023" v="128" actId="20577"/>
          <ac:spMkLst>
            <pc:docMk/>
            <pc:sldMk cId="2713710551" sldId="273"/>
            <ac:spMk id="12" creationId="{00000000-0000-0000-0000-000000000000}"/>
          </ac:spMkLst>
        </pc:spChg>
        <pc:spChg chg="mod">
          <ac:chgData name="Stephanie Taylor" userId="S::stephanie.taylor@052gc.onmicrosoft.com::85051aa4-4f80-4490-864d-9044cf428a20" providerId="AD" clId="Web-{B06424C0-EC62-4048-B63A-A827FE85E51F}" dt="2020-04-21T13:38:45.852" v="148" actId="20577"/>
          <ac:spMkLst>
            <pc:docMk/>
            <pc:sldMk cId="2713710551" sldId="273"/>
            <ac:spMk id="13" creationId="{00000000-0000-0000-0000-000000000000}"/>
          </ac:spMkLst>
        </pc:spChg>
      </pc:sldChg>
      <pc:sldChg chg="modSp modNotes">
        <pc:chgData name="Stephanie Taylor" userId="S::stephanie.taylor@052gc.onmicrosoft.com::85051aa4-4f80-4490-864d-9044cf428a20" providerId="AD" clId="Web-{B06424C0-EC62-4048-B63A-A827FE85E51F}" dt="2020-04-21T13:40:05.477" v="178"/>
        <pc:sldMkLst>
          <pc:docMk/>
          <pc:sldMk cId="3070132508" sldId="274"/>
        </pc:sldMkLst>
        <pc:spChg chg="mod">
          <ac:chgData name="Stephanie Taylor" userId="S::stephanie.taylor@052gc.onmicrosoft.com::85051aa4-4f80-4490-864d-9044cf428a20" providerId="AD" clId="Web-{B06424C0-EC62-4048-B63A-A827FE85E51F}" dt="2020-04-21T13:39:47.899" v="175" actId="20577"/>
          <ac:spMkLst>
            <pc:docMk/>
            <pc:sldMk cId="3070132508" sldId="274"/>
            <ac:spMk id="6" creationId="{00000000-0000-0000-0000-000000000000}"/>
          </ac:spMkLst>
        </pc:spChg>
      </pc:sldChg>
      <pc:sldChg chg="modSp modNotes">
        <pc:chgData name="Stephanie Taylor" userId="S::stephanie.taylor@052gc.onmicrosoft.com::85051aa4-4f80-4490-864d-9044cf428a20" providerId="AD" clId="Web-{B06424C0-EC62-4048-B63A-A827FE85E51F}" dt="2020-04-21T13:35:13.679" v="73"/>
        <pc:sldMkLst>
          <pc:docMk/>
          <pc:sldMk cId="2138355075" sldId="275"/>
        </pc:sldMkLst>
        <pc:spChg chg="mod">
          <ac:chgData name="Stephanie Taylor" userId="S::stephanie.taylor@052gc.onmicrosoft.com::85051aa4-4f80-4490-864d-9044cf428a20" providerId="AD" clId="Web-{B06424C0-EC62-4048-B63A-A827FE85E51F}" dt="2020-04-21T13:31:53.865" v="60" actId="1076"/>
          <ac:spMkLst>
            <pc:docMk/>
            <pc:sldMk cId="2138355075" sldId="275"/>
            <ac:spMk id="11" creationId="{00000000-0000-0000-0000-000000000000}"/>
          </ac:spMkLst>
        </pc:spChg>
        <pc:graphicFrameChg chg="mod modGraphic">
          <ac:chgData name="Stephanie Taylor" userId="S::stephanie.taylor@052gc.onmicrosoft.com::85051aa4-4f80-4490-864d-9044cf428a20" providerId="AD" clId="Web-{B06424C0-EC62-4048-B63A-A827FE85E51F}" dt="2020-04-21T13:32:00.100" v="61" actId="1076"/>
          <ac:graphicFrameMkLst>
            <pc:docMk/>
            <pc:sldMk cId="2138355075" sldId="275"/>
            <ac:graphicFrameMk id="5" creationId="{00000000-0000-0000-0000-000000000000}"/>
          </ac:graphicFrameMkLst>
        </pc:graphicFrameChg>
      </pc:sldChg>
    </pc:docChg>
  </pc:docChgLst>
  <pc:docChgLst>
    <pc:chgData name="Stephanie Taylor" userId="S::stephanie.taylor@052gc.onmicrosoft.com::85051aa4-4f80-4490-864d-9044cf428a20" providerId="AD" clId="Web-{34CBD47F-573F-4C1B-967F-D444F945E98A}"/>
    <pc:docChg chg="modSld">
      <pc:chgData name="Stephanie Taylor" userId="S::stephanie.taylor@052gc.onmicrosoft.com::85051aa4-4f80-4490-864d-9044cf428a20" providerId="AD" clId="Web-{34CBD47F-573F-4C1B-967F-D444F945E98A}" dt="2020-04-07T19:00:37.874" v="74"/>
      <pc:docMkLst>
        <pc:docMk/>
      </pc:docMkLst>
      <pc:sldChg chg="addSp delSp modSp">
        <pc:chgData name="Stephanie Taylor" userId="S::stephanie.taylor@052gc.onmicrosoft.com::85051aa4-4f80-4490-864d-9044cf428a20" providerId="AD" clId="Web-{34CBD47F-573F-4C1B-967F-D444F945E98A}" dt="2020-04-07T18:54:06.434" v="31" actId="1076"/>
        <pc:sldMkLst>
          <pc:docMk/>
          <pc:sldMk cId="4282411546" sldId="259"/>
        </pc:sldMkLst>
        <pc:picChg chg="add mod">
          <ac:chgData name="Stephanie Taylor" userId="S::stephanie.taylor@052gc.onmicrosoft.com::85051aa4-4f80-4490-864d-9044cf428a20" providerId="AD" clId="Web-{34CBD47F-573F-4C1B-967F-D444F945E98A}" dt="2020-04-07T18:54:06.434" v="31" actId="1076"/>
          <ac:picMkLst>
            <pc:docMk/>
            <pc:sldMk cId="4282411546" sldId="259"/>
            <ac:picMk id="2" creationId="{1C76534C-B222-4141-8DE9-919E365396F8}"/>
          </ac:picMkLst>
        </pc:picChg>
        <pc:picChg chg="del">
          <ac:chgData name="Stephanie Taylor" userId="S::stephanie.taylor@052gc.onmicrosoft.com::85051aa4-4f80-4490-864d-9044cf428a20" providerId="AD" clId="Web-{34CBD47F-573F-4C1B-967F-D444F945E98A}" dt="2020-04-07T18:54:00.231" v="30"/>
          <ac:picMkLst>
            <pc:docMk/>
            <pc:sldMk cId="4282411546" sldId="259"/>
            <ac:picMk id="10" creationId="{00000000-0000-0000-0000-000000000000}"/>
          </ac:picMkLst>
        </pc:picChg>
      </pc:sldChg>
      <pc:sldChg chg="addSp delSp modSp">
        <pc:chgData name="Stephanie Taylor" userId="S::stephanie.taylor@052gc.onmicrosoft.com::85051aa4-4f80-4490-864d-9044cf428a20" providerId="AD" clId="Web-{34CBD47F-573F-4C1B-967F-D444F945E98A}" dt="2020-04-07T19:00:37.874" v="74"/>
        <pc:sldMkLst>
          <pc:docMk/>
          <pc:sldMk cId="2179226575" sldId="269"/>
        </pc:sldMkLst>
        <pc:spChg chg="del mod">
          <ac:chgData name="Stephanie Taylor" userId="S::stephanie.taylor@052gc.onmicrosoft.com::85051aa4-4f80-4490-864d-9044cf428a20" providerId="AD" clId="Web-{34CBD47F-573F-4C1B-967F-D444F945E98A}" dt="2020-04-07T18:51:31.840" v="12"/>
          <ac:spMkLst>
            <pc:docMk/>
            <pc:sldMk cId="2179226575" sldId="269"/>
            <ac:spMk id="6" creationId="{00000000-0000-0000-0000-000000000000}"/>
          </ac:spMkLst>
        </pc:spChg>
        <pc:spChg chg="mod">
          <ac:chgData name="Stephanie Taylor" userId="S::stephanie.taylor@052gc.onmicrosoft.com::85051aa4-4f80-4490-864d-9044cf428a20" providerId="AD" clId="Web-{34CBD47F-573F-4C1B-967F-D444F945E98A}" dt="2020-04-07T18:51:51.355" v="20" actId="1076"/>
          <ac:spMkLst>
            <pc:docMk/>
            <pc:sldMk cId="2179226575" sldId="269"/>
            <ac:spMk id="12" creationId="{00000000-0000-0000-0000-000000000000}"/>
          </ac:spMkLst>
        </pc:spChg>
        <pc:spChg chg="del">
          <ac:chgData name="Stephanie Taylor" userId="S::stephanie.taylor@052gc.onmicrosoft.com::85051aa4-4f80-4490-864d-9044cf428a20" providerId="AD" clId="Web-{34CBD47F-573F-4C1B-967F-D444F945E98A}" dt="2020-04-07T18:51:34.246" v="13"/>
          <ac:spMkLst>
            <pc:docMk/>
            <pc:sldMk cId="2179226575" sldId="269"/>
            <ac:spMk id="22" creationId="{00000000-0000-0000-0000-000000000000}"/>
          </ac:spMkLst>
        </pc:spChg>
        <pc:spChg chg="del">
          <ac:chgData name="Stephanie Taylor" userId="S::stephanie.taylor@052gc.onmicrosoft.com::85051aa4-4f80-4490-864d-9044cf428a20" providerId="AD" clId="Web-{34CBD47F-573F-4C1B-967F-D444F945E98A}" dt="2020-04-07T18:51:36.058" v="14"/>
          <ac:spMkLst>
            <pc:docMk/>
            <pc:sldMk cId="2179226575" sldId="269"/>
            <ac:spMk id="24" creationId="{00000000-0000-0000-0000-000000000000}"/>
          </ac:spMkLst>
        </pc:spChg>
        <pc:spChg chg="del">
          <ac:chgData name="Stephanie Taylor" userId="S::stephanie.taylor@052gc.onmicrosoft.com::85051aa4-4f80-4490-864d-9044cf428a20" providerId="AD" clId="Web-{34CBD47F-573F-4C1B-967F-D444F945E98A}" dt="2020-04-07T18:51:38.136" v="15"/>
          <ac:spMkLst>
            <pc:docMk/>
            <pc:sldMk cId="2179226575" sldId="269"/>
            <ac:spMk id="25" creationId="{00000000-0000-0000-0000-000000000000}"/>
          </ac:spMkLst>
        </pc:spChg>
        <pc:picChg chg="del">
          <ac:chgData name="Stephanie Taylor" userId="S::stephanie.taylor@052gc.onmicrosoft.com::85051aa4-4f80-4490-864d-9044cf428a20" providerId="AD" clId="Web-{34CBD47F-573F-4C1B-967F-D444F945E98A}" dt="2020-04-07T18:51:15.480" v="1"/>
          <ac:picMkLst>
            <pc:docMk/>
            <pc:sldMk cId="2179226575" sldId="269"/>
            <ac:picMk id="2" creationId="{00000000-0000-0000-0000-000000000000}"/>
          </ac:picMkLst>
        </pc:picChg>
        <pc:picChg chg="add mod modCrop">
          <ac:chgData name="Stephanie Taylor" userId="S::stephanie.taylor@052gc.onmicrosoft.com::85051aa4-4f80-4490-864d-9044cf428a20" providerId="AD" clId="Web-{34CBD47F-573F-4C1B-967F-D444F945E98A}" dt="2020-04-07T19:00:37.874" v="74"/>
          <ac:picMkLst>
            <pc:docMk/>
            <pc:sldMk cId="2179226575" sldId="269"/>
            <ac:picMk id="3" creationId="{919111A9-1AA3-4962-98B9-E228160BC776}"/>
          </ac:picMkLst>
        </pc:picChg>
      </pc:sldChg>
      <pc:sldChg chg="addSp delSp modSp">
        <pc:chgData name="Stephanie Taylor" userId="S::stephanie.taylor@052gc.onmicrosoft.com::85051aa4-4f80-4490-864d-9044cf428a20" providerId="AD" clId="Web-{34CBD47F-573F-4C1B-967F-D444F945E98A}" dt="2020-04-07T18:59:12.764" v="68" actId="1076"/>
        <pc:sldMkLst>
          <pc:docMk/>
          <pc:sldMk cId="101528459" sldId="270"/>
        </pc:sldMkLst>
        <pc:spChg chg="mod">
          <ac:chgData name="Stephanie Taylor" userId="S::stephanie.taylor@052gc.onmicrosoft.com::85051aa4-4f80-4490-864d-9044cf428a20" providerId="AD" clId="Web-{34CBD47F-573F-4C1B-967F-D444F945E98A}" dt="2020-04-07T18:59:12.764" v="68" actId="1076"/>
          <ac:spMkLst>
            <pc:docMk/>
            <pc:sldMk cId="101528459" sldId="270"/>
            <ac:spMk id="10" creationId="{00000000-0000-0000-0000-000000000000}"/>
          </ac:spMkLst>
        </pc:spChg>
        <pc:picChg chg="add mod">
          <ac:chgData name="Stephanie Taylor" userId="S::stephanie.taylor@052gc.onmicrosoft.com::85051aa4-4f80-4490-864d-9044cf428a20" providerId="AD" clId="Web-{34CBD47F-573F-4C1B-967F-D444F945E98A}" dt="2020-04-07T18:55:30.294" v="42" actId="1076"/>
          <ac:picMkLst>
            <pc:docMk/>
            <pc:sldMk cId="101528459" sldId="270"/>
            <ac:picMk id="2" creationId="{83410C23-F02B-4106-9AA5-D8691FE5075E}"/>
          </ac:picMkLst>
        </pc:picChg>
        <pc:picChg chg="add del">
          <ac:chgData name="Stephanie Taylor" userId="S::stephanie.taylor@052gc.onmicrosoft.com::85051aa4-4f80-4490-864d-9044cf428a20" providerId="AD" clId="Web-{34CBD47F-573F-4C1B-967F-D444F945E98A}" dt="2020-04-07T18:55:32.029" v="43"/>
          <ac:picMkLst>
            <pc:docMk/>
            <pc:sldMk cId="101528459" sldId="270"/>
            <ac:picMk id="4" creationId="{1C129527-0266-4241-8882-CD09D800FE82}"/>
          </ac:picMkLst>
        </pc:picChg>
        <pc:picChg chg="del">
          <ac:chgData name="Stephanie Taylor" userId="S::stephanie.taylor@052gc.onmicrosoft.com::85051aa4-4f80-4490-864d-9044cf428a20" providerId="AD" clId="Web-{34CBD47F-573F-4C1B-967F-D444F945E98A}" dt="2020-04-07T18:54:34.638" v="33"/>
          <ac:picMkLst>
            <pc:docMk/>
            <pc:sldMk cId="101528459" sldId="270"/>
            <ac:picMk id="13" creationId="{00000000-0000-0000-0000-000000000000}"/>
          </ac:picMkLst>
        </pc:picChg>
      </pc:sldChg>
      <pc:sldChg chg="addSp delSp modSp">
        <pc:chgData name="Stephanie Taylor" userId="S::stephanie.taylor@052gc.onmicrosoft.com::85051aa4-4f80-4490-864d-9044cf428a20" providerId="AD" clId="Web-{34CBD47F-573F-4C1B-967F-D444F945E98A}" dt="2020-04-07T18:57:00.092" v="55"/>
        <pc:sldMkLst>
          <pc:docMk/>
          <pc:sldMk cId="235025381" sldId="271"/>
        </pc:sldMkLst>
        <pc:picChg chg="add del">
          <ac:chgData name="Stephanie Taylor" userId="S::stephanie.taylor@052gc.onmicrosoft.com::85051aa4-4f80-4490-864d-9044cf428a20" providerId="AD" clId="Web-{34CBD47F-573F-4C1B-967F-D444F945E98A}" dt="2020-04-07T18:54:52.450" v="37"/>
          <ac:picMkLst>
            <pc:docMk/>
            <pc:sldMk cId="235025381" sldId="271"/>
            <ac:picMk id="2" creationId="{1AB94A52-7E20-405B-9145-69A903D9AAEE}"/>
          </ac:picMkLst>
        </pc:picChg>
        <pc:picChg chg="add del">
          <ac:chgData name="Stephanie Taylor" userId="S::stephanie.taylor@052gc.onmicrosoft.com::85051aa4-4f80-4490-864d-9044cf428a20" providerId="AD" clId="Web-{34CBD47F-573F-4C1B-967F-D444F945E98A}" dt="2020-04-07T18:57:00.092" v="55"/>
          <ac:picMkLst>
            <pc:docMk/>
            <pc:sldMk cId="235025381" sldId="271"/>
            <ac:picMk id="3" creationId="{1E569C6F-7676-4CAD-8447-102419583755}"/>
          </ac:picMkLst>
        </pc:picChg>
        <pc:picChg chg="add mod ord">
          <ac:chgData name="Stephanie Taylor" userId="S::stephanie.taylor@052gc.onmicrosoft.com::85051aa4-4f80-4490-864d-9044cf428a20" providerId="AD" clId="Web-{34CBD47F-573F-4C1B-967F-D444F945E98A}" dt="2020-04-07T18:56:57.217" v="54" actId="1076"/>
          <ac:picMkLst>
            <pc:docMk/>
            <pc:sldMk cId="235025381" sldId="271"/>
            <ac:picMk id="4" creationId="{7A219FFB-1697-42E6-BCA0-B2B2AE51F902}"/>
          </ac:picMkLst>
        </pc:picChg>
        <pc:picChg chg="del">
          <ac:chgData name="Stephanie Taylor" userId="S::stephanie.taylor@052gc.onmicrosoft.com::85051aa4-4f80-4490-864d-9044cf428a20" providerId="AD" clId="Web-{34CBD47F-573F-4C1B-967F-D444F945E98A}" dt="2020-04-07T18:54:55.341" v="38"/>
          <ac:picMkLst>
            <pc:docMk/>
            <pc:sldMk cId="235025381" sldId="271"/>
            <ac:picMk id="15" creationId="{00000000-0000-0000-0000-000000000000}"/>
          </ac:picMkLst>
        </pc:picChg>
      </pc:sldChg>
      <pc:sldChg chg="addSp delSp modSp">
        <pc:chgData name="Stephanie Taylor" userId="S::stephanie.taylor@052gc.onmicrosoft.com::85051aa4-4f80-4490-864d-9044cf428a20" providerId="AD" clId="Web-{34CBD47F-573F-4C1B-967F-D444F945E98A}" dt="2020-04-07T18:58:14.998" v="67"/>
        <pc:sldMkLst>
          <pc:docMk/>
          <pc:sldMk cId="2713710551" sldId="273"/>
        </pc:sldMkLst>
        <pc:picChg chg="add del">
          <ac:chgData name="Stephanie Taylor" userId="S::stephanie.taylor@052gc.onmicrosoft.com::85051aa4-4f80-4490-864d-9044cf428a20" providerId="AD" clId="Web-{34CBD47F-573F-4C1B-967F-D444F945E98A}" dt="2020-04-07T18:56:42.701" v="51"/>
          <ac:picMkLst>
            <pc:docMk/>
            <pc:sldMk cId="2713710551" sldId="273"/>
            <ac:picMk id="2" creationId="{EDF1F684-335A-4BF4-B502-3599E0FE92C1}"/>
          </ac:picMkLst>
        </pc:picChg>
        <pc:picChg chg="add mod ord">
          <ac:chgData name="Stephanie Taylor" userId="S::stephanie.taylor@052gc.onmicrosoft.com::85051aa4-4f80-4490-864d-9044cf428a20" providerId="AD" clId="Web-{34CBD47F-573F-4C1B-967F-D444F945E98A}" dt="2020-04-07T18:58:12.608" v="66" actId="1076"/>
          <ac:picMkLst>
            <pc:docMk/>
            <pc:sldMk cId="2713710551" sldId="273"/>
            <ac:picMk id="3" creationId="{780AB157-9DA0-4F6D-B6E3-D724F816F80A}"/>
          </ac:picMkLst>
        </pc:picChg>
        <pc:picChg chg="add del mod">
          <ac:chgData name="Stephanie Taylor" userId="S::stephanie.taylor@052gc.onmicrosoft.com::85051aa4-4f80-4490-864d-9044cf428a20" providerId="AD" clId="Web-{34CBD47F-573F-4C1B-967F-D444F945E98A}" dt="2020-04-07T18:58:00.139" v="63"/>
          <ac:picMkLst>
            <pc:docMk/>
            <pc:sldMk cId="2713710551" sldId="273"/>
            <ac:picMk id="5" creationId="{B3F9722D-608C-44C1-AD9D-1D01FBF21ED2}"/>
          </ac:picMkLst>
        </pc:picChg>
        <pc:picChg chg="add del">
          <ac:chgData name="Stephanie Taylor" userId="S::stephanie.taylor@052gc.onmicrosoft.com::85051aa4-4f80-4490-864d-9044cf428a20" providerId="AD" clId="Web-{34CBD47F-573F-4C1B-967F-D444F945E98A}" dt="2020-04-07T18:58:14.998" v="67"/>
          <ac:picMkLst>
            <pc:docMk/>
            <pc:sldMk cId="2713710551" sldId="273"/>
            <ac:picMk id="6" creationId="{179D205C-75AE-4508-B5D3-D9DB5BEAF93A}"/>
          </ac:picMkLst>
        </pc:picChg>
        <pc:picChg chg="del">
          <ac:chgData name="Stephanie Taylor" userId="S::stephanie.taylor@052gc.onmicrosoft.com::85051aa4-4f80-4490-864d-9044cf428a20" providerId="AD" clId="Web-{34CBD47F-573F-4C1B-967F-D444F945E98A}" dt="2020-04-07T18:55:02.357" v="40"/>
          <ac:picMkLst>
            <pc:docMk/>
            <pc:sldMk cId="2713710551" sldId="273"/>
            <ac:picMk id="15" creationId="{00000000-0000-0000-0000-000000000000}"/>
          </ac:picMkLst>
        </pc:picChg>
      </pc:sldChg>
    </pc:docChg>
  </pc:docChgLst>
  <pc:docChgLst>
    <pc:chgData name="Stephanie Taylor" userId="S::stephanie.taylor@052gc.onmicrosoft.com::85051aa4-4f80-4490-864d-9044cf428a20" providerId="AD" clId="Web-{716D98F0-4C48-49DB-94AB-03C244A020D4}"/>
    <pc:docChg chg="modSld">
      <pc:chgData name="Stephanie Taylor" userId="S::stephanie.taylor@052gc.onmicrosoft.com::85051aa4-4f80-4490-864d-9044cf428a20" providerId="AD" clId="Web-{716D98F0-4C48-49DB-94AB-03C244A020D4}" dt="2020-04-21T14:16:06.121" v="117" actId="20577"/>
      <pc:docMkLst>
        <pc:docMk/>
      </pc:docMkLst>
      <pc:sldChg chg="modSp">
        <pc:chgData name="Stephanie Taylor" userId="S::stephanie.taylor@052gc.onmicrosoft.com::85051aa4-4f80-4490-864d-9044cf428a20" providerId="AD" clId="Web-{716D98F0-4C48-49DB-94AB-03C244A020D4}" dt="2020-04-21T14:13:30.098" v="54" actId="20577"/>
        <pc:sldMkLst>
          <pc:docMk/>
          <pc:sldMk cId="4282411546" sldId="259"/>
        </pc:sldMkLst>
        <pc:spChg chg="mod">
          <ac:chgData name="Stephanie Taylor" userId="S::stephanie.taylor@052gc.onmicrosoft.com::85051aa4-4f80-4490-864d-9044cf428a20" providerId="AD" clId="Web-{716D98F0-4C48-49DB-94AB-03C244A020D4}" dt="2020-04-21T14:13:30.098" v="54" actId="20577"/>
          <ac:spMkLst>
            <pc:docMk/>
            <pc:sldMk cId="4282411546" sldId="259"/>
            <ac:spMk id="10" creationId="{00000000-0000-0000-0000-000000000000}"/>
          </ac:spMkLst>
        </pc:spChg>
      </pc:sldChg>
      <pc:sldChg chg="addSp delSp modSp">
        <pc:chgData name="Stephanie Taylor" userId="S::stephanie.taylor@052gc.onmicrosoft.com::85051aa4-4f80-4490-864d-9044cf428a20" providerId="AD" clId="Web-{716D98F0-4C48-49DB-94AB-03C244A020D4}" dt="2020-04-21T14:13:57.943" v="62" actId="20577"/>
        <pc:sldMkLst>
          <pc:docMk/>
          <pc:sldMk cId="101528459" sldId="270"/>
        </pc:sldMkLst>
        <pc:spChg chg="add mod">
          <ac:chgData name="Stephanie Taylor" userId="S::stephanie.taylor@052gc.onmicrosoft.com::85051aa4-4f80-4490-864d-9044cf428a20" providerId="AD" clId="Web-{716D98F0-4C48-49DB-94AB-03C244A020D4}" dt="2020-04-21T14:13:57.943" v="62" actId="20577"/>
          <ac:spMkLst>
            <pc:docMk/>
            <pc:sldMk cId="101528459" sldId="270"/>
            <ac:spMk id="2" creationId="{C91A7D44-732D-4DD1-9DE0-DA2E71CA3D87}"/>
          </ac:spMkLst>
        </pc:spChg>
        <pc:spChg chg="del mod">
          <ac:chgData name="Stephanie Taylor" userId="S::stephanie.taylor@052gc.onmicrosoft.com::85051aa4-4f80-4490-864d-9044cf428a20" providerId="AD" clId="Web-{716D98F0-4C48-49DB-94AB-03C244A020D4}" dt="2020-04-21T14:13:54.115" v="60"/>
          <ac:spMkLst>
            <pc:docMk/>
            <pc:sldMk cId="101528459" sldId="270"/>
            <ac:spMk id="16" creationId="{00000000-0000-0000-0000-000000000000}"/>
          </ac:spMkLst>
        </pc:spChg>
      </pc:sldChg>
      <pc:sldChg chg="addSp delSp modSp">
        <pc:chgData name="Stephanie Taylor" userId="S::stephanie.taylor@052gc.onmicrosoft.com::85051aa4-4f80-4490-864d-9044cf428a20" providerId="AD" clId="Web-{716D98F0-4C48-49DB-94AB-03C244A020D4}" dt="2020-04-21T14:14:09.553" v="70" actId="20577"/>
        <pc:sldMkLst>
          <pc:docMk/>
          <pc:sldMk cId="235025381" sldId="271"/>
        </pc:sldMkLst>
        <pc:spChg chg="add mod">
          <ac:chgData name="Stephanie Taylor" userId="S::stephanie.taylor@052gc.onmicrosoft.com::85051aa4-4f80-4490-864d-9044cf428a20" providerId="AD" clId="Web-{716D98F0-4C48-49DB-94AB-03C244A020D4}" dt="2020-04-21T14:14:09.553" v="70" actId="20577"/>
          <ac:spMkLst>
            <pc:docMk/>
            <pc:sldMk cId="235025381" sldId="271"/>
            <ac:spMk id="2" creationId="{B3B82EAF-84D8-4BEE-8CF6-26348777A5D2}"/>
          </ac:spMkLst>
        </pc:spChg>
        <pc:spChg chg="del mod">
          <ac:chgData name="Stephanie Taylor" userId="S::stephanie.taylor@052gc.onmicrosoft.com::85051aa4-4f80-4490-864d-9044cf428a20" providerId="AD" clId="Web-{716D98F0-4C48-49DB-94AB-03C244A020D4}" dt="2020-04-21T14:14:03.975" v="68"/>
          <ac:spMkLst>
            <pc:docMk/>
            <pc:sldMk cId="235025381" sldId="271"/>
            <ac:spMk id="16" creationId="{00000000-0000-0000-0000-000000000000}"/>
          </ac:spMkLst>
        </pc:spChg>
      </pc:sldChg>
      <pc:sldChg chg="addSp delSp modSp">
        <pc:chgData name="Stephanie Taylor" userId="S::stephanie.taylor@052gc.onmicrosoft.com::85051aa4-4f80-4490-864d-9044cf428a20" providerId="AD" clId="Web-{716D98F0-4C48-49DB-94AB-03C244A020D4}" dt="2020-04-21T14:15:35.541" v="93" actId="20577"/>
        <pc:sldMkLst>
          <pc:docMk/>
          <pc:sldMk cId="2713710551" sldId="273"/>
        </pc:sldMkLst>
        <pc:spChg chg="add mod">
          <ac:chgData name="Stephanie Taylor" userId="S::stephanie.taylor@052gc.onmicrosoft.com::85051aa4-4f80-4490-864d-9044cf428a20" providerId="AD" clId="Web-{716D98F0-4C48-49DB-94AB-03C244A020D4}" dt="2020-04-21T14:14:18.100" v="77" actId="20577"/>
          <ac:spMkLst>
            <pc:docMk/>
            <pc:sldMk cId="2713710551" sldId="273"/>
            <ac:spMk id="2" creationId="{9AFB8D41-5DF9-418D-8696-E0E00C1184A7}"/>
          </ac:spMkLst>
        </pc:spChg>
        <pc:spChg chg="del">
          <ac:chgData name="Stephanie Taylor" userId="S::stephanie.taylor@052gc.onmicrosoft.com::85051aa4-4f80-4490-864d-9044cf428a20" providerId="AD" clId="Web-{716D98F0-4C48-49DB-94AB-03C244A020D4}" dt="2020-04-21T14:14:14.163" v="73"/>
          <ac:spMkLst>
            <pc:docMk/>
            <pc:sldMk cId="2713710551" sldId="273"/>
            <ac:spMk id="12" creationId="{00000000-0000-0000-0000-000000000000}"/>
          </ac:spMkLst>
        </pc:spChg>
        <pc:spChg chg="mod">
          <ac:chgData name="Stephanie Taylor" userId="S::stephanie.taylor@052gc.onmicrosoft.com::85051aa4-4f80-4490-864d-9044cf428a20" providerId="AD" clId="Web-{716D98F0-4C48-49DB-94AB-03C244A020D4}" dt="2020-04-21T14:15:35.541" v="93" actId="20577"/>
          <ac:spMkLst>
            <pc:docMk/>
            <pc:sldMk cId="2713710551" sldId="273"/>
            <ac:spMk id="13" creationId="{00000000-0000-0000-0000-000000000000}"/>
          </ac:spMkLst>
        </pc:spChg>
      </pc:sldChg>
      <pc:sldChg chg="modSp">
        <pc:chgData name="Stephanie Taylor" userId="S::stephanie.taylor@052gc.onmicrosoft.com::85051aa4-4f80-4490-864d-9044cf428a20" providerId="AD" clId="Web-{716D98F0-4C48-49DB-94AB-03C244A020D4}" dt="2020-04-21T14:16:03.636" v="115" actId="20577"/>
        <pc:sldMkLst>
          <pc:docMk/>
          <pc:sldMk cId="3070132508" sldId="274"/>
        </pc:sldMkLst>
        <pc:spChg chg="mod">
          <ac:chgData name="Stephanie Taylor" userId="S::stephanie.taylor@052gc.onmicrosoft.com::85051aa4-4f80-4490-864d-9044cf428a20" providerId="AD" clId="Web-{716D98F0-4C48-49DB-94AB-03C244A020D4}" dt="2020-04-21T14:16:03.636" v="115" actId="20577"/>
          <ac:spMkLst>
            <pc:docMk/>
            <pc:sldMk cId="3070132508" sldId="274"/>
            <ac:spMk id="6" creationId="{00000000-0000-0000-0000-000000000000}"/>
          </ac:spMkLst>
        </pc:spChg>
      </pc:sldChg>
      <pc:sldChg chg="modSp">
        <pc:chgData name="Stephanie Taylor" userId="S::stephanie.taylor@052gc.onmicrosoft.com::85051aa4-4f80-4490-864d-9044cf428a20" providerId="AD" clId="Web-{716D98F0-4C48-49DB-94AB-03C244A020D4}" dt="2020-04-21T14:12:46.721" v="23" actId="1076"/>
        <pc:sldMkLst>
          <pc:docMk/>
          <pc:sldMk cId="2138355075" sldId="275"/>
        </pc:sldMkLst>
        <pc:spChg chg="mod">
          <ac:chgData name="Stephanie Taylor" userId="S::stephanie.taylor@052gc.onmicrosoft.com::85051aa4-4f80-4490-864d-9044cf428a20" providerId="AD" clId="Web-{716D98F0-4C48-49DB-94AB-03C244A020D4}" dt="2020-04-21T14:12:46.721" v="23" actId="1076"/>
          <ac:spMkLst>
            <pc:docMk/>
            <pc:sldMk cId="2138355075" sldId="275"/>
            <ac:spMk id="11" creationId="{00000000-0000-0000-0000-000000000000}"/>
          </ac:spMkLst>
        </pc:spChg>
        <pc:graphicFrameChg chg="mod modGraphic">
          <ac:chgData name="Stephanie Taylor" userId="S::stephanie.taylor@052gc.onmicrosoft.com::85051aa4-4f80-4490-864d-9044cf428a20" providerId="AD" clId="Web-{716D98F0-4C48-49DB-94AB-03C244A020D4}" dt="2020-04-21T14:12:41.596" v="22" actId="1076"/>
          <ac:graphicFrameMkLst>
            <pc:docMk/>
            <pc:sldMk cId="2138355075" sldId="275"/>
            <ac:graphicFrameMk id="5" creationId="{00000000-0000-0000-0000-000000000000}"/>
          </ac:graphicFrameMkLst>
        </pc:graphicFrameChg>
      </pc:sldChg>
    </pc:docChg>
  </pc:docChgLst>
  <pc:docChgLst>
    <pc:chgData name="Stephanie Taylor" userId="S::stephanie.taylor@052gc.onmicrosoft.com::85051aa4-4f80-4490-864d-9044cf428a20" providerId="AD" clId="Web-{A0399818-0FAD-4A92-810E-BAA3087A1CDC}"/>
    <pc:docChg chg="modSld">
      <pc:chgData name="Stephanie Taylor" userId="S::stephanie.taylor@052gc.onmicrosoft.com::85051aa4-4f80-4490-864d-9044cf428a20" providerId="AD" clId="Web-{A0399818-0FAD-4A92-810E-BAA3087A1CDC}" dt="2020-04-21T16:18:16.679" v="104" actId="20577"/>
      <pc:docMkLst>
        <pc:docMk/>
      </pc:docMkLst>
      <pc:sldChg chg="modSp">
        <pc:chgData name="Stephanie Taylor" userId="S::stephanie.taylor@052gc.onmicrosoft.com::85051aa4-4f80-4490-864d-9044cf428a20" providerId="AD" clId="Web-{A0399818-0FAD-4A92-810E-BAA3087A1CDC}" dt="2020-04-21T16:14:51.178" v="42" actId="20577"/>
        <pc:sldMkLst>
          <pc:docMk/>
          <pc:sldMk cId="4282411546" sldId="259"/>
        </pc:sldMkLst>
        <pc:spChg chg="mod">
          <ac:chgData name="Stephanie Taylor" userId="S::stephanie.taylor@052gc.onmicrosoft.com::85051aa4-4f80-4490-864d-9044cf428a20" providerId="AD" clId="Web-{A0399818-0FAD-4A92-810E-BAA3087A1CDC}" dt="2020-04-21T16:14:51.178" v="42" actId="20577"/>
          <ac:spMkLst>
            <pc:docMk/>
            <pc:sldMk cId="4282411546" sldId="259"/>
            <ac:spMk id="10" creationId="{00000000-0000-0000-0000-000000000000}"/>
          </ac:spMkLst>
        </pc:spChg>
      </pc:sldChg>
      <pc:sldChg chg="modSp">
        <pc:chgData name="Stephanie Taylor" userId="S::stephanie.taylor@052gc.onmicrosoft.com::85051aa4-4f80-4490-864d-9044cf428a20" providerId="AD" clId="Web-{A0399818-0FAD-4A92-810E-BAA3087A1CDC}" dt="2020-04-21T16:14:57.334" v="48" actId="20577"/>
        <pc:sldMkLst>
          <pc:docMk/>
          <pc:sldMk cId="101528459" sldId="270"/>
        </pc:sldMkLst>
        <pc:spChg chg="mod">
          <ac:chgData name="Stephanie Taylor" userId="S::stephanie.taylor@052gc.onmicrosoft.com::85051aa4-4f80-4490-864d-9044cf428a20" providerId="AD" clId="Web-{A0399818-0FAD-4A92-810E-BAA3087A1CDC}" dt="2020-04-21T16:14:57.334" v="48" actId="20577"/>
          <ac:spMkLst>
            <pc:docMk/>
            <pc:sldMk cId="101528459" sldId="270"/>
            <ac:spMk id="2" creationId="{C91A7D44-732D-4DD1-9DE0-DA2E71CA3D87}"/>
          </ac:spMkLst>
        </pc:spChg>
      </pc:sldChg>
      <pc:sldChg chg="modSp modNotes">
        <pc:chgData name="Stephanie Taylor" userId="S::stephanie.taylor@052gc.onmicrosoft.com::85051aa4-4f80-4490-864d-9044cf428a20" providerId="AD" clId="Web-{A0399818-0FAD-4A92-810E-BAA3087A1CDC}" dt="2020-04-21T16:17:02.538" v="77"/>
        <pc:sldMkLst>
          <pc:docMk/>
          <pc:sldMk cId="235025381" sldId="271"/>
        </pc:sldMkLst>
        <pc:spChg chg="mod">
          <ac:chgData name="Stephanie Taylor" userId="S::stephanie.taylor@052gc.onmicrosoft.com::85051aa4-4f80-4490-864d-9044cf428a20" providerId="AD" clId="Web-{A0399818-0FAD-4A92-810E-BAA3087A1CDC}" dt="2020-04-21T16:15:06.350" v="68" actId="20577"/>
          <ac:spMkLst>
            <pc:docMk/>
            <pc:sldMk cId="235025381" sldId="271"/>
            <ac:spMk id="2" creationId="{B3B82EAF-84D8-4BEE-8CF6-26348777A5D2}"/>
          </ac:spMkLst>
        </pc:spChg>
      </pc:sldChg>
      <pc:sldChg chg="modSp">
        <pc:chgData name="Stephanie Taylor" userId="S::stephanie.taylor@052gc.onmicrosoft.com::85051aa4-4f80-4490-864d-9044cf428a20" providerId="AD" clId="Web-{A0399818-0FAD-4A92-810E-BAA3087A1CDC}" dt="2020-04-21T16:17:45.585" v="84" actId="20577"/>
        <pc:sldMkLst>
          <pc:docMk/>
          <pc:sldMk cId="2713710551" sldId="273"/>
        </pc:sldMkLst>
        <pc:spChg chg="mod">
          <ac:chgData name="Stephanie Taylor" userId="S::stephanie.taylor@052gc.onmicrosoft.com::85051aa4-4f80-4490-864d-9044cf428a20" providerId="AD" clId="Web-{A0399818-0FAD-4A92-810E-BAA3087A1CDC}" dt="2020-04-21T16:15:12.975" v="71" actId="20577"/>
          <ac:spMkLst>
            <pc:docMk/>
            <pc:sldMk cId="2713710551" sldId="273"/>
            <ac:spMk id="2" creationId="{9AFB8D41-5DF9-418D-8696-E0E00C1184A7}"/>
          </ac:spMkLst>
        </pc:spChg>
        <pc:spChg chg="mod">
          <ac:chgData name="Stephanie Taylor" userId="S::stephanie.taylor@052gc.onmicrosoft.com::85051aa4-4f80-4490-864d-9044cf428a20" providerId="AD" clId="Web-{A0399818-0FAD-4A92-810E-BAA3087A1CDC}" dt="2020-04-21T16:17:45.585" v="84" actId="20577"/>
          <ac:spMkLst>
            <pc:docMk/>
            <pc:sldMk cId="2713710551" sldId="273"/>
            <ac:spMk id="13" creationId="{00000000-0000-0000-0000-000000000000}"/>
          </ac:spMkLst>
        </pc:spChg>
      </pc:sldChg>
      <pc:sldChg chg="modSp">
        <pc:chgData name="Stephanie Taylor" userId="S::stephanie.taylor@052gc.onmicrosoft.com::85051aa4-4f80-4490-864d-9044cf428a20" providerId="AD" clId="Web-{A0399818-0FAD-4A92-810E-BAA3087A1CDC}" dt="2020-04-21T16:18:16.679" v="103" actId="20577"/>
        <pc:sldMkLst>
          <pc:docMk/>
          <pc:sldMk cId="3070132508" sldId="274"/>
        </pc:sldMkLst>
        <pc:spChg chg="mod">
          <ac:chgData name="Stephanie Taylor" userId="S::stephanie.taylor@052gc.onmicrosoft.com::85051aa4-4f80-4490-864d-9044cf428a20" providerId="AD" clId="Web-{A0399818-0FAD-4A92-810E-BAA3087A1CDC}" dt="2020-04-21T16:18:16.679" v="103" actId="20577"/>
          <ac:spMkLst>
            <pc:docMk/>
            <pc:sldMk cId="3070132508" sldId="274"/>
            <ac:spMk id="6" creationId="{00000000-0000-0000-0000-000000000000}"/>
          </ac:spMkLst>
        </pc:spChg>
      </pc:sldChg>
      <pc:sldChg chg="modSp">
        <pc:chgData name="Stephanie Taylor" userId="S::stephanie.taylor@052gc.onmicrosoft.com::85051aa4-4f80-4490-864d-9044cf428a20" providerId="AD" clId="Web-{A0399818-0FAD-4A92-810E-BAA3087A1CDC}" dt="2020-04-21T16:13:07.397" v="35" actId="1076"/>
        <pc:sldMkLst>
          <pc:docMk/>
          <pc:sldMk cId="2138355075" sldId="275"/>
        </pc:sldMkLst>
        <pc:graphicFrameChg chg="mod modGraphic">
          <ac:chgData name="Stephanie Taylor" userId="S::stephanie.taylor@052gc.onmicrosoft.com::85051aa4-4f80-4490-864d-9044cf428a20" providerId="AD" clId="Web-{A0399818-0FAD-4A92-810E-BAA3087A1CDC}" dt="2020-04-21T16:13:07.397" v="35" actId="1076"/>
          <ac:graphicFrameMkLst>
            <pc:docMk/>
            <pc:sldMk cId="2138355075" sldId="275"/>
            <ac:graphicFrameMk id="5" creationId="{00000000-0000-0000-0000-000000000000}"/>
          </ac:graphicFrameMkLst>
        </pc:graphicFrameChg>
      </pc:sldChg>
    </pc:docChg>
  </pc:docChgLst>
  <pc:docChgLst>
    <pc:chgData name="Daniel Blenkarn" userId="S::daniel.blenkarn@052gc.onmicrosoft.com::e5384461-d215-4b44-b113-0ad59289c2a2" providerId="AD" clId="Web-{FE2E2C7B-C71C-45CF-9122-914E2A90842D}"/>
    <pc:docChg chg="modSld">
      <pc:chgData name="Daniel Blenkarn" userId="S::daniel.blenkarn@052gc.onmicrosoft.com::e5384461-d215-4b44-b113-0ad59289c2a2" providerId="AD" clId="Web-{FE2E2C7B-C71C-45CF-9122-914E2A90842D}" dt="2020-04-07T13:56:51.015" v="141"/>
      <pc:docMkLst>
        <pc:docMk/>
      </pc:docMkLst>
      <pc:sldChg chg="modNotes">
        <pc:chgData name="Daniel Blenkarn" userId="S::daniel.blenkarn@052gc.onmicrosoft.com::e5384461-d215-4b44-b113-0ad59289c2a2" providerId="AD" clId="Web-{FE2E2C7B-C71C-45CF-9122-914E2A90842D}" dt="2020-04-07T13:53:37.224" v="46"/>
        <pc:sldMkLst>
          <pc:docMk/>
          <pc:sldMk cId="2179226575" sldId="269"/>
        </pc:sldMkLst>
      </pc:sldChg>
      <pc:sldChg chg="modNotes">
        <pc:chgData name="Daniel Blenkarn" userId="S::daniel.blenkarn@052gc.onmicrosoft.com::e5384461-d215-4b44-b113-0ad59289c2a2" providerId="AD" clId="Web-{FE2E2C7B-C71C-45CF-9122-914E2A90842D}" dt="2020-04-07T13:54:38.149" v="76"/>
        <pc:sldMkLst>
          <pc:docMk/>
          <pc:sldMk cId="235025381" sldId="271"/>
        </pc:sldMkLst>
      </pc:sldChg>
      <pc:sldChg chg="modNotes">
        <pc:chgData name="Daniel Blenkarn" userId="S::daniel.blenkarn@052gc.onmicrosoft.com::e5384461-d215-4b44-b113-0ad59289c2a2" providerId="AD" clId="Web-{FE2E2C7B-C71C-45CF-9122-914E2A90842D}" dt="2020-04-07T13:55:47.136" v="119"/>
        <pc:sldMkLst>
          <pc:docMk/>
          <pc:sldMk cId="2713710551" sldId="273"/>
        </pc:sldMkLst>
      </pc:sldChg>
      <pc:sldChg chg="modNotes">
        <pc:chgData name="Daniel Blenkarn" userId="S::daniel.blenkarn@052gc.onmicrosoft.com::e5384461-d215-4b44-b113-0ad59289c2a2" providerId="AD" clId="Web-{FE2E2C7B-C71C-45CF-9122-914E2A90842D}" dt="2020-04-07T13:56:51.015" v="141"/>
        <pc:sldMkLst>
          <pc:docMk/>
          <pc:sldMk cId="3070132508" sldId="274"/>
        </pc:sldMkLst>
      </pc:sldChg>
      <pc:sldChg chg="modNotes">
        <pc:chgData name="Daniel Blenkarn" userId="S::daniel.blenkarn@052gc.onmicrosoft.com::e5384461-d215-4b44-b113-0ad59289c2a2" providerId="AD" clId="Web-{FE2E2C7B-C71C-45CF-9122-914E2A90842D}" dt="2020-04-07T13:52:00.406" v="7"/>
        <pc:sldMkLst>
          <pc:docMk/>
          <pc:sldMk cId="2138355075" sldId="275"/>
        </pc:sldMkLst>
      </pc:sldChg>
    </pc:docChg>
  </pc:docChgLst>
  <pc:docChgLst>
    <pc:chgData name="Stephanie Taylor" userId="S::stephanie.taylor@052gc.onmicrosoft.com::85051aa4-4f80-4490-864d-9044cf428a20" providerId="AD" clId="Web-{7AD84078-BF11-43A2-93B8-AA6D0E182693}"/>
    <pc:docChg chg="modSld">
      <pc:chgData name="Stephanie Taylor" userId="S::stephanie.taylor@052gc.onmicrosoft.com::85051aa4-4f80-4490-864d-9044cf428a20" providerId="AD" clId="Web-{7AD84078-BF11-43A2-93B8-AA6D0E182693}" dt="2020-04-14T14:07:09.011" v="9"/>
      <pc:docMkLst>
        <pc:docMk/>
      </pc:docMkLst>
      <pc:sldChg chg="modSp">
        <pc:chgData name="Stephanie Taylor" userId="S::stephanie.taylor@052gc.onmicrosoft.com::85051aa4-4f80-4490-864d-9044cf428a20" providerId="AD" clId="Web-{7AD84078-BF11-43A2-93B8-AA6D0E182693}" dt="2020-04-14T14:07:09.011" v="9"/>
        <pc:sldMkLst>
          <pc:docMk/>
          <pc:sldMk cId="2138355075" sldId="275"/>
        </pc:sldMkLst>
        <pc:graphicFrameChg chg="mod modGraphic">
          <ac:chgData name="Stephanie Taylor" userId="S::stephanie.taylor@052gc.onmicrosoft.com::85051aa4-4f80-4490-864d-9044cf428a20" providerId="AD" clId="Web-{7AD84078-BF11-43A2-93B8-AA6D0E182693}" dt="2020-04-14T14:07:09.011" v="9"/>
          <ac:graphicFrameMkLst>
            <pc:docMk/>
            <pc:sldMk cId="2138355075" sldId="275"/>
            <ac:graphicFrameMk id="5" creationId="{00000000-0000-0000-0000-000000000000}"/>
          </ac:graphicFrameMkLst>
        </pc:graphicFrameChg>
      </pc:sldChg>
    </pc:docChg>
  </pc:docChgLst>
  <pc:docChgLst>
    <pc:chgData name="Kim Mellor" userId="S::kim.mellor@052gc.onmicrosoft.com::35b58b08-79b1-4f06-84e8-8f60868646a9" providerId="AD" clId="Web-{67D3853A-36B6-446B-87E2-682FB3EA1AEF}"/>
    <pc:docChg chg="modSld">
      <pc:chgData name="Kim Mellor" userId="S::kim.mellor@052gc.onmicrosoft.com::35b58b08-79b1-4f06-84e8-8f60868646a9" providerId="AD" clId="Web-{67D3853A-36B6-446B-87E2-682FB3EA1AEF}" dt="2020-04-07T12:58:16.227" v="2523"/>
      <pc:docMkLst>
        <pc:docMk/>
      </pc:docMkLst>
      <pc:sldChg chg="modSp">
        <pc:chgData name="Kim Mellor" userId="S::kim.mellor@052gc.onmicrosoft.com::35b58b08-79b1-4f06-84e8-8f60868646a9" providerId="AD" clId="Web-{67D3853A-36B6-446B-87E2-682FB3EA1AEF}" dt="2020-04-07T11:44:38.331" v="0" actId="14100"/>
        <pc:sldMkLst>
          <pc:docMk/>
          <pc:sldMk cId="4282411546" sldId="259"/>
        </pc:sldMkLst>
        <pc:spChg chg="mod">
          <ac:chgData name="Kim Mellor" userId="S::kim.mellor@052gc.onmicrosoft.com::35b58b08-79b1-4f06-84e8-8f60868646a9" providerId="AD" clId="Web-{67D3853A-36B6-446B-87E2-682FB3EA1AEF}" dt="2020-04-07T11:44:38.331" v="0" actId="14100"/>
          <ac:spMkLst>
            <pc:docMk/>
            <pc:sldMk cId="4282411546" sldId="259"/>
            <ac:spMk id="16" creationId="{00000000-0000-0000-0000-000000000000}"/>
          </ac:spMkLst>
        </pc:spChg>
      </pc:sldChg>
      <pc:sldChg chg="addCm modNotes">
        <pc:chgData name="Kim Mellor" userId="S::kim.mellor@052gc.onmicrosoft.com::35b58b08-79b1-4f06-84e8-8f60868646a9" providerId="AD" clId="Web-{67D3853A-36B6-446B-87E2-682FB3EA1AEF}" dt="2020-04-07T12:58:16.227" v="2523"/>
        <pc:sldMkLst>
          <pc:docMk/>
          <pc:sldMk cId="2179226575" sldId="269"/>
        </pc:sldMkLst>
      </pc:sldChg>
      <pc:sldChg chg="modSp">
        <pc:chgData name="Kim Mellor" userId="S::kim.mellor@052gc.onmicrosoft.com::35b58b08-79b1-4f06-84e8-8f60868646a9" providerId="AD" clId="Web-{67D3853A-36B6-446B-87E2-682FB3EA1AEF}" dt="2020-04-07T12:17:26.778" v="1270" actId="20577"/>
        <pc:sldMkLst>
          <pc:docMk/>
          <pc:sldMk cId="101528459" sldId="270"/>
        </pc:sldMkLst>
        <pc:spChg chg="mod">
          <ac:chgData name="Kim Mellor" userId="S::kim.mellor@052gc.onmicrosoft.com::35b58b08-79b1-4f06-84e8-8f60868646a9" providerId="AD" clId="Web-{67D3853A-36B6-446B-87E2-682FB3EA1AEF}" dt="2020-04-07T12:17:26.778" v="1270" actId="20577"/>
          <ac:spMkLst>
            <pc:docMk/>
            <pc:sldMk cId="101528459" sldId="270"/>
            <ac:spMk id="10" creationId="{00000000-0000-0000-0000-000000000000}"/>
          </ac:spMkLst>
        </pc:spChg>
        <pc:spChg chg="mod">
          <ac:chgData name="Kim Mellor" userId="S::kim.mellor@052gc.onmicrosoft.com::35b58b08-79b1-4f06-84e8-8f60868646a9" providerId="AD" clId="Web-{67D3853A-36B6-446B-87E2-682FB3EA1AEF}" dt="2020-04-07T11:44:48.596" v="1" actId="14100"/>
          <ac:spMkLst>
            <pc:docMk/>
            <pc:sldMk cId="101528459" sldId="270"/>
            <ac:spMk id="16" creationId="{00000000-0000-0000-0000-000000000000}"/>
          </ac:spMkLst>
        </pc:spChg>
      </pc:sldChg>
      <pc:sldChg chg="modSp modNotes">
        <pc:chgData name="Kim Mellor" userId="S::kim.mellor@052gc.onmicrosoft.com::35b58b08-79b1-4f06-84e8-8f60868646a9" providerId="AD" clId="Web-{67D3853A-36B6-446B-87E2-682FB3EA1AEF}" dt="2020-04-07T12:26:55.391" v="1440"/>
        <pc:sldMkLst>
          <pc:docMk/>
          <pc:sldMk cId="235025381" sldId="271"/>
        </pc:sldMkLst>
        <pc:spChg chg="mod">
          <ac:chgData name="Kim Mellor" userId="S::kim.mellor@052gc.onmicrosoft.com::35b58b08-79b1-4f06-84e8-8f60868646a9" providerId="AD" clId="Web-{67D3853A-36B6-446B-87E2-682FB3EA1AEF}" dt="2020-04-07T11:45:03.284" v="3" actId="14100"/>
          <ac:spMkLst>
            <pc:docMk/>
            <pc:sldMk cId="235025381" sldId="271"/>
            <ac:spMk id="16" creationId="{00000000-0000-0000-0000-000000000000}"/>
          </ac:spMkLst>
        </pc:spChg>
      </pc:sldChg>
      <pc:sldChg chg="modSp modNotes">
        <pc:chgData name="Kim Mellor" userId="S::kim.mellor@052gc.onmicrosoft.com::35b58b08-79b1-4f06-84e8-8f60868646a9" providerId="AD" clId="Web-{67D3853A-36B6-446B-87E2-682FB3EA1AEF}" dt="2020-04-07T12:42:06.770" v="2244"/>
        <pc:sldMkLst>
          <pc:docMk/>
          <pc:sldMk cId="2713710551" sldId="273"/>
        </pc:sldMkLst>
        <pc:spChg chg="mod">
          <ac:chgData name="Kim Mellor" userId="S::kim.mellor@052gc.onmicrosoft.com::35b58b08-79b1-4f06-84e8-8f60868646a9" providerId="AD" clId="Web-{67D3853A-36B6-446B-87E2-682FB3EA1AEF}" dt="2020-04-07T11:44:55.190" v="2" actId="14100"/>
          <ac:spMkLst>
            <pc:docMk/>
            <pc:sldMk cId="2713710551" sldId="273"/>
            <ac:spMk id="16" creationId="{00000000-0000-0000-0000-000000000000}"/>
          </ac:spMkLst>
        </pc:spChg>
      </pc:sldChg>
      <pc:sldChg chg="modNotes">
        <pc:chgData name="Kim Mellor" userId="S::kim.mellor@052gc.onmicrosoft.com::35b58b08-79b1-4f06-84e8-8f60868646a9" providerId="AD" clId="Web-{67D3853A-36B6-446B-87E2-682FB3EA1AEF}" dt="2020-04-07T12:47:02.693" v="2503"/>
        <pc:sldMkLst>
          <pc:docMk/>
          <pc:sldMk cId="3070132508" sldId="274"/>
        </pc:sldMkLst>
      </pc:sldChg>
      <pc:sldChg chg="modSp addCm modNotes">
        <pc:chgData name="Kim Mellor" userId="S::kim.mellor@052gc.onmicrosoft.com::35b58b08-79b1-4f06-84e8-8f60868646a9" providerId="AD" clId="Web-{67D3853A-36B6-446B-87E2-682FB3EA1AEF}" dt="2020-04-07T12:56:47.289" v="2522"/>
        <pc:sldMkLst>
          <pc:docMk/>
          <pc:sldMk cId="2138355075" sldId="275"/>
        </pc:sldMkLst>
        <pc:graphicFrameChg chg="mod modGraphic">
          <ac:chgData name="Kim Mellor" userId="S::kim.mellor@052gc.onmicrosoft.com::35b58b08-79b1-4f06-84e8-8f60868646a9" providerId="AD" clId="Web-{67D3853A-36B6-446B-87E2-682FB3EA1AEF}" dt="2020-04-07T11:46:18.144" v="14"/>
          <ac:graphicFrameMkLst>
            <pc:docMk/>
            <pc:sldMk cId="2138355075" sldId="275"/>
            <ac:graphicFrameMk id="2" creationId="{00000000-0000-0000-0000-000000000000}"/>
          </ac:graphicFrameMkLst>
        </pc:graphicFrameChg>
        <pc:graphicFrameChg chg="mod modGraphic">
          <ac:chgData name="Kim Mellor" userId="S::kim.mellor@052gc.onmicrosoft.com::35b58b08-79b1-4f06-84e8-8f60868646a9" providerId="AD" clId="Web-{67D3853A-36B6-446B-87E2-682FB3EA1AEF}" dt="2020-04-07T11:45:53.925" v="8"/>
          <ac:graphicFrameMkLst>
            <pc:docMk/>
            <pc:sldMk cId="2138355075" sldId="275"/>
            <ac:graphicFrameMk id="5" creationId="{00000000-0000-0000-0000-000000000000}"/>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FC3E71-953F-452A-9F0A-D0DED9DC47D7}" type="datetimeFigureOut">
              <a:rPr lang="en-US" smtClean="0"/>
              <a:t>7/1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8674EB-C5BF-485C-987F-FEA85BB7C60F}" type="slidenum">
              <a:rPr lang="en-US" smtClean="0"/>
              <a:t>‹#›</a:t>
            </a:fld>
            <a:endParaRPr lang="en-US"/>
          </a:p>
        </p:txBody>
      </p:sp>
    </p:spTree>
    <p:extLst>
      <p:ext uri="{BB962C8B-B14F-4D97-AF65-F5344CB8AC3E}">
        <p14:creationId xmlns:p14="http://schemas.microsoft.com/office/powerpoint/2010/main" val="4962942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nvitation email: </a:t>
            </a:r>
          </a:p>
          <a:p>
            <a:pPr marL="171450" indent="-171450">
              <a:buFont typeface="Arial" panose="020B0604020202020204" pitchFamily="34" charset="0"/>
              <a:buChar char="•"/>
            </a:pPr>
            <a:r>
              <a:rPr lang="en-US" dirty="0"/>
              <a:t>You may wish to use the prepared invitation email that explains the reason for the session on "Finding opportunities in challenging times." </a:t>
            </a:r>
          </a:p>
          <a:p>
            <a:pPr marL="171450" indent="-171450">
              <a:buFont typeface="Arial" panose="020B0604020202020204" pitchFamily="34" charset="0"/>
              <a:buChar char="•"/>
            </a:pPr>
            <a:endParaRPr lang="en-CA" dirty="0">
              <a:cs typeface="Calibri"/>
            </a:endParaRPr>
          </a:p>
          <a:p>
            <a:r>
              <a:rPr lang="en-CA" dirty="0"/>
              <a:t>Questions: </a:t>
            </a:r>
            <a:endParaRPr lang="en-CA" dirty="0">
              <a:cs typeface="Calibri"/>
            </a:endParaRPr>
          </a:p>
          <a:p>
            <a:pPr marL="171450" indent="-171450">
              <a:buFont typeface="Arial"/>
              <a:buChar char="•"/>
            </a:pPr>
            <a:r>
              <a:rPr lang="en-US" dirty="0"/>
              <a:t>You know your employees, so you are the best person to decide if you should distribute the questions in advance. </a:t>
            </a:r>
            <a:r>
              <a:rPr lang="en-CA" dirty="0"/>
              <a:t> </a:t>
            </a:r>
            <a:endParaRPr lang="en-CA">
              <a:cs typeface="Calibri"/>
            </a:endParaRPr>
          </a:p>
          <a:p>
            <a:endParaRPr lang="en-CA" dirty="0"/>
          </a:p>
          <a:p>
            <a:r>
              <a:rPr lang="en-CA" dirty="0"/>
              <a:t>Duration: </a:t>
            </a:r>
          </a:p>
          <a:p>
            <a:pPr marL="171450" indent="-171450">
              <a:buFont typeface="Arial" panose="020B0604020202020204" pitchFamily="34" charset="0"/>
              <a:buChar char="•"/>
            </a:pPr>
            <a:r>
              <a:rPr lang="en-US" dirty="0"/>
              <a:t>The larger the group, the longer it takes to complete the four stages of the GROW model. </a:t>
            </a:r>
          </a:p>
          <a:p>
            <a:pPr marL="171450" indent="-171450">
              <a:buFont typeface="Arial" panose="020B0604020202020204" pitchFamily="34" charset="0"/>
              <a:buChar char="•"/>
            </a:pPr>
            <a:r>
              <a:rPr lang="en-US" dirty="0"/>
              <a:t>It is essential to set aside at least ten minutes at the end of the session to allow the participants to speak about what actions they are willing to take, try or change. </a:t>
            </a:r>
            <a:endParaRPr lang="en-US" dirty="0">
              <a:cs typeface="Calibri" panose="020F0502020204030204"/>
            </a:endParaRPr>
          </a:p>
          <a:p>
            <a:endParaRPr lang="en-CA" dirty="0">
              <a:cs typeface="Calibri"/>
            </a:endParaRPr>
          </a:p>
          <a:p>
            <a:r>
              <a:rPr lang="en-CA" dirty="0"/>
              <a:t>Empathy:</a:t>
            </a:r>
          </a:p>
          <a:p>
            <a:pPr marL="171450" indent="-171450">
              <a:buFont typeface="Arial" panose="020B0604020202020204" pitchFamily="34" charset="0"/>
              <a:buChar char="•"/>
            </a:pPr>
            <a:r>
              <a:rPr lang="en-US" dirty="0"/>
              <a:t>Empathy is essential throughout the conversation as each employee will experience the situation in their own way. </a:t>
            </a:r>
          </a:p>
          <a:p>
            <a:pPr marL="171450" indent="-171450">
              <a:buFont typeface="Arial" panose="020B0604020202020204" pitchFamily="34" charset="0"/>
              <a:buChar char="•"/>
            </a:pPr>
            <a:r>
              <a:rPr lang="en-US" dirty="0"/>
              <a:t>Some employees will find it easy to explore different possibilities, whereas others may not.</a:t>
            </a:r>
            <a:r>
              <a:rPr lang="en-CA" dirty="0"/>
              <a:t> </a:t>
            </a:r>
            <a:endParaRPr lang="en-CA"/>
          </a:p>
          <a:p>
            <a:endParaRPr lang="en-CA" dirty="0">
              <a:cs typeface="Calibri"/>
            </a:endParaRPr>
          </a:p>
          <a:p>
            <a:endParaRPr lang="en-CA" dirty="0"/>
          </a:p>
          <a:p>
            <a:endParaRPr lang="en-CA" b="1"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EC1CF6-B9E7-49CC-8CD6-CD50DC5465C8}" type="slidenum">
              <a:rPr kumimoji="0" lang="en-CA"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CA"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8099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GROW model is usually used in individual coaching sessions.  </a:t>
            </a:r>
          </a:p>
          <a:p>
            <a:pPr marL="171450" indent="-171450">
              <a:buFont typeface="Arial" panose="020B0604020202020204" pitchFamily="34" charset="0"/>
              <a:buChar char="•"/>
            </a:pPr>
            <a:r>
              <a:rPr lang="en-US" dirty="0"/>
              <a:t>For our purposes, however, the GROW model has been adapted slightly to allow for a group conversation on a single topic. </a:t>
            </a:r>
            <a:endParaRPr lang="en-US" dirty="0">
              <a:cs typeface="Calibri"/>
            </a:endParaRPr>
          </a:p>
          <a:p>
            <a:r>
              <a:rPr lang="en-US" dirty="0"/>
              <a:t> </a:t>
            </a:r>
            <a:endParaRPr lang="en-US" dirty="0">
              <a:cs typeface="Calibri"/>
            </a:endParaRPr>
          </a:p>
          <a:p>
            <a:pPr marL="171450" indent="-171450">
              <a:buFont typeface="Arial" panose="020B0604020202020204" pitchFamily="34" charset="0"/>
              <a:buChar char="•"/>
            </a:pPr>
            <a:r>
              <a:rPr lang="en-US" dirty="0"/>
              <a:t>For this conversation, the stages in the GROW are as follows: </a:t>
            </a:r>
            <a:endParaRPr lang="en-US" dirty="0">
              <a:cs typeface="Calibri"/>
            </a:endParaRPr>
          </a:p>
          <a:p>
            <a:endParaRPr lang="en-US" dirty="0">
              <a:cs typeface="Calibri"/>
            </a:endParaRPr>
          </a:p>
          <a:p>
            <a:r>
              <a:rPr lang="en-US" dirty="0">
                <a:cs typeface="Calibri"/>
              </a:rPr>
              <a:t>G-GOALS: 	What are the objectives of the conversation/meeting?</a:t>
            </a:r>
          </a:p>
          <a:p>
            <a:r>
              <a:rPr lang="en-US" dirty="0">
                <a:cs typeface="Calibri"/>
              </a:rPr>
              <a:t>R-REALITY: 	What is the current situation each employee is experiencing? </a:t>
            </a:r>
          </a:p>
          <a:p>
            <a:r>
              <a:rPr lang="en-US" dirty="0">
                <a:cs typeface="Calibri"/>
              </a:rPr>
              <a:t>O-OPTIONS: 	What options are available for employees?</a:t>
            </a:r>
          </a:p>
          <a:p>
            <a:r>
              <a:rPr lang="en-US" dirty="0">
                <a:cs typeface="Calibri"/>
              </a:rPr>
              <a:t>W-WILL: 	What are the next steps that each employee wants to take/try/change in the right direction?  </a:t>
            </a:r>
            <a:endParaRPr lang="fr-CA" dirty="0">
              <a:cs typeface="Calibri"/>
            </a:endParaRPr>
          </a:p>
          <a:p>
            <a:endParaRPr lang="en-US" dirty="0">
              <a:cs typeface="Calibri"/>
            </a:endParaRPr>
          </a:p>
          <a:p>
            <a:endParaRPr lang="en-CA"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EC1CF6-B9E7-49CC-8CD6-CD50DC5465C8}" type="slidenum">
              <a:rPr kumimoji="0" lang="en-CA"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CA"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049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EC1CF6-B9E7-49CC-8CD6-CD50DC5465C8}" type="slidenum">
              <a:rPr kumimoji="0" lang="en-CA"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A"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86792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EC1CF6-B9E7-49CC-8CD6-CD50DC5465C8}" type="slidenum">
              <a:rPr kumimoji="0" lang="en-CA"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CA"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51715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is step will help participants adopt a growth mindset by exploring the possibilities available to them. </a:t>
            </a:r>
          </a:p>
          <a:p>
            <a:pPr marL="171450" indent="-171450">
              <a:buFont typeface="Arial" panose="020B0604020202020204" pitchFamily="34" charset="0"/>
              <a:buChar char="•"/>
            </a:pPr>
            <a:r>
              <a:rPr lang="en-US" dirty="0"/>
              <a:t>The suggested process allows individuals to explore previously uncharted pathways. </a:t>
            </a:r>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EC1CF6-B9E7-49CC-8CD6-CD50DC5465C8}" type="slidenum">
              <a:rPr kumimoji="0" lang="en-CA"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CA"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042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For this last step, each participant should bear in mind that every move in the right direction, big or small, should be seen as a sign of progress.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turbulent times, the pace of development of individuals will vary. It is the supervisor's role to meet employees where they are and to help them through the stages of transition. </a:t>
            </a:r>
          </a:p>
          <a:p>
            <a:pPr marL="171450" indent="-171450">
              <a:buFont typeface="Arial" panose="020B0604020202020204" pitchFamily="34" charset="0"/>
              <a:buChar char="•"/>
            </a:pPr>
            <a:endParaRPr lang="en-US" dirty="0">
              <a:cs typeface="Calibri" panose="020F0502020204030204"/>
            </a:endParaRPr>
          </a:p>
          <a:p>
            <a:pPr marL="171450" indent="-171450">
              <a:buFont typeface="Arial" panose="020B0604020202020204" pitchFamily="34" charset="0"/>
              <a:buChar char="•"/>
            </a:pPr>
            <a:r>
              <a:rPr lang="en-US" dirty="0"/>
              <a:t>Transition is experienced at different rates, but the steps taken are quite similar (Scott and Jaffe Change Model): </a:t>
            </a:r>
            <a:endParaRPr lang="en-US" dirty="0">
              <a:cs typeface="Calibri" panose="020F0502020204030204"/>
            </a:endParaRPr>
          </a:p>
          <a:p>
            <a:pPr lvl="1"/>
            <a:r>
              <a:rPr lang="en-CA" dirty="0"/>
              <a:t>1. Denial</a:t>
            </a:r>
          </a:p>
          <a:p>
            <a:pPr lvl="1"/>
            <a:r>
              <a:rPr lang="en-CA" dirty="0"/>
              <a:t>2. Resistance</a:t>
            </a:r>
          </a:p>
          <a:p>
            <a:pPr lvl="1"/>
            <a:r>
              <a:rPr lang="en-CA" dirty="0"/>
              <a:t>3. Exploration</a:t>
            </a:r>
          </a:p>
          <a:p>
            <a:pPr lvl="1"/>
            <a:r>
              <a:rPr lang="en-CA" dirty="0"/>
              <a:t>4. Commitment</a:t>
            </a:r>
          </a:p>
          <a:p>
            <a:endParaRPr lang="en-CA" dirty="0"/>
          </a:p>
          <a:p>
            <a:pPr marL="171450" indent="-171450">
              <a:buFont typeface="Arial" panose="020B0604020202020204" pitchFamily="34" charset="0"/>
              <a:buChar char="•"/>
            </a:pPr>
            <a:r>
              <a:rPr lang="en-US" dirty="0"/>
              <a:t>End the conversation by thanking employees for participating in the conversation and reiterate that you are available to support them or to continue the conversation individually.  </a:t>
            </a:r>
            <a:r>
              <a:rPr lang="en-CA" dirty="0"/>
              <a:t> </a:t>
            </a:r>
            <a:endParaRPr lang="en-CA" dirty="0">
              <a:cs typeface="Calibri"/>
            </a:endParaRPr>
          </a:p>
          <a:p>
            <a:endParaRPr lang="en-CA"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EC1CF6-B9E7-49CC-8CD6-CD50DC5465C8}" type="slidenum">
              <a:rPr kumimoji="0" lang="en-CA"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CA"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79652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created this tool to support leaders during the COVID-19 crisis. As it is a new tool,  we welcome your feedback on the experience of using it. </a:t>
            </a:r>
          </a:p>
          <a:p>
            <a:endParaRPr lang="en-US" dirty="0">
              <a:cs typeface="Calibri"/>
            </a:endParaRPr>
          </a:p>
        </p:txBody>
      </p:sp>
      <p:sp>
        <p:nvSpPr>
          <p:cNvPr id="4" name="Slide Number Placeholder 3"/>
          <p:cNvSpPr>
            <a:spLocks noGrp="1"/>
          </p:cNvSpPr>
          <p:nvPr>
            <p:ph type="sldNum" sz="quarter" idx="5"/>
          </p:nvPr>
        </p:nvSpPr>
        <p:spPr/>
        <p:txBody>
          <a:bodyPr/>
          <a:lstStyle/>
          <a:p>
            <a:fld id="{398674EB-C5BF-485C-987F-FEA85BB7C60F}" type="slidenum">
              <a:rPr lang="en-US" smtClean="0"/>
              <a:t>8</a:t>
            </a:fld>
            <a:endParaRPr lang="en-US"/>
          </a:p>
        </p:txBody>
      </p:sp>
    </p:spTree>
    <p:extLst>
      <p:ext uri="{BB962C8B-B14F-4D97-AF65-F5344CB8AC3E}">
        <p14:creationId xmlns:p14="http://schemas.microsoft.com/office/powerpoint/2010/main" val="8493253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fld id="{F256E0DA-A79B-4BCA-89E9-D09A87CD973D}" type="datetimeFigureOut">
              <a:rPr lang="en-CA" smtClean="0"/>
              <a:t>2021-07-14</a:t>
            </a:fld>
            <a:endParaRPr lang="en-CA"/>
          </a:p>
        </p:txBody>
      </p:sp>
      <p:sp>
        <p:nvSpPr>
          <p:cNvPr id="5" name="Footer Placeholder 4"/>
          <p:cNvSpPr>
            <a:spLocks noGrp="1"/>
          </p:cNvSpPr>
          <p:nvPr>
            <p:ph type="ftr" sz="quarter" idx="11"/>
          </p:nvPr>
        </p:nvSpPr>
        <p:spPr/>
        <p:txBody>
          <a:bodyPr/>
          <a:lstStyle/>
          <a:p>
            <a:endParaRPr lang="en-CA"/>
          </a:p>
        </p:txBody>
      </p:sp>
      <p:sp>
        <p:nvSpPr>
          <p:cNvPr id="7" name="Slide Number Placeholder 5"/>
          <p:cNvSpPr txBox="1">
            <a:spLocks/>
          </p:cNvSpPr>
          <p:nvPr/>
        </p:nvSpPr>
        <p:spPr>
          <a:xfrm>
            <a:off x="125710" y="5174184"/>
            <a:ext cx="2607101" cy="1364728"/>
          </a:xfrm>
          <a:prstGeom prst="rect">
            <a:avLst/>
          </a:prstGeom>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1A290D8D-6BA0-418D-AFED-C65293F70DA0}" type="slidenum">
              <a:rPr lang="en-US" sz="13800" b="1" i="0" smtClean="0">
                <a:solidFill>
                  <a:schemeClr val="bg1">
                    <a:lumMod val="95000"/>
                  </a:schemeClr>
                </a:solidFill>
                <a:latin typeface="Arial" panose="020B0604020202020204" pitchFamily="34" charset="0"/>
                <a:ea typeface="Roboto Medium" charset="0"/>
                <a:cs typeface="Arial" panose="020B0604020202020204" pitchFamily="34" charset="0"/>
              </a:rPr>
              <a:pPr algn="l"/>
              <a:t>‹#›</a:t>
            </a:fld>
            <a:endParaRPr lang="en-US" sz="13800" b="1" i="0">
              <a:solidFill>
                <a:schemeClr val="bg1">
                  <a:lumMod val="95000"/>
                </a:schemeClr>
              </a:solidFill>
              <a:latin typeface="Arial" panose="020B0604020202020204" pitchFamily="34" charset="0"/>
              <a:ea typeface="Roboto Medium" charset="0"/>
              <a:cs typeface="Arial" panose="020B0604020202020204" pitchFamily="34" charset="0"/>
            </a:endParaRPr>
          </a:p>
        </p:txBody>
      </p:sp>
    </p:spTree>
    <p:extLst>
      <p:ext uri="{BB962C8B-B14F-4D97-AF65-F5344CB8AC3E}">
        <p14:creationId xmlns:p14="http://schemas.microsoft.com/office/powerpoint/2010/main" val="1861593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90575" y="253154"/>
            <a:ext cx="10610850" cy="106838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0B501D18-93EC-4D08-9C92-419904306A89}" type="datetimeFigureOut">
              <a:rPr lang="en-CA" smtClean="0"/>
              <a:t>2021-07-14</a:t>
            </a:fld>
            <a:endParaRPr lang="en-CA"/>
          </a:p>
        </p:txBody>
      </p:sp>
      <p:sp>
        <p:nvSpPr>
          <p:cNvPr id="4" name="Footer Placeholder 3"/>
          <p:cNvSpPr>
            <a:spLocks noGrp="1"/>
          </p:cNvSpPr>
          <p:nvPr>
            <p:ph type="ftr" sz="quarter" idx="11"/>
          </p:nvPr>
        </p:nvSpPr>
        <p:spPr/>
        <p:txBody>
          <a:bodyPr/>
          <a:lstStyle/>
          <a:p>
            <a:endParaRPr lang="en-CA"/>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54B07D99-D461-4C49-83BD-86150019FCEC}" type="slidenum">
              <a:rPr lang="en-CA" smtClean="0"/>
              <a:t>‹#›</a:t>
            </a:fld>
            <a:endParaRPr lang="en-CA"/>
          </a:p>
        </p:txBody>
      </p:sp>
    </p:spTree>
    <p:extLst>
      <p:ext uri="{BB962C8B-B14F-4D97-AF65-F5344CB8AC3E}">
        <p14:creationId xmlns:p14="http://schemas.microsoft.com/office/powerpoint/2010/main" val="31215383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Cover Slid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429713" y="969264"/>
            <a:ext cx="6857107" cy="3612684"/>
          </a:xfrm>
        </p:spPr>
        <p:txBody>
          <a:bodyPr anchor="b"/>
          <a:lstStyle>
            <a:lvl1pPr>
              <a:defRPr sz="5599" u="none">
                <a:solidFill>
                  <a:srgbClr val="FFFFFF"/>
                </a:solidFill>
              </a:defRPr>
            </a:lvl1pPr>
          </a:lstStyle>
          <a:p>
            <a:r>
              <a:rPr lang="en-CA" noProof="0"/>
              <a:t>Click to edit master title style</a:t>
            </a:r>
          </a:p>
        </p:txBody>
      </p:sp>
      <p:sp>
        <p:nvSpPr>
          <p:cNvPr id="3" name="Sous-titre 2"/>
          <p:cNvSpPr>
            <a:spLocks noGrp="1"/>
          </p:cNvSpPr>
          <p:nvPr>
            <p:ph type="subTitle" idx="1" hasCustomPrompt="1"/>
          </p:nvPr>
        </p:nvSpPr>
        <p:spPr>
          <a:xfrm>
            <a:off x="429712" y="4718940"/>
            <a:ext cx="6857107" cy="1132586"/>
          </a:xfrm>
        </p:spPr>
        <p:txBody>
          <a:bodyPr/>
          <a:lstStyle>
            <a:lvl1pPr marL="0" indent="0" algn="l">
              <a:buNone/>
              <a:defRPr b="1">
                <a:solidFill>
                  <a:schemeClr val="bg1"/>
                </a:solidFill>
              </a:defRPr>
            </a:lvl1pPr>
            <a:lvl2pPr marL="609509" indent="0" algn="ctr">
              <a:buNone/>
              <a:defRPr>
                <a:solidFill>
                  <a:schemeClr val="tx1">
                    <a:tint val="75000"/>
                  </a:schemeClr>
                </a:solidFill>
              </a:defRPr>
            </a:lvl2pPr>
            <a:lvl3pPr marL="1219017" indent="0" algn="ctr">
              <a:buNone/>
              <a:defRPr>
                <a:solidFill>
                  <a:schemeClr val="tx1">
                    <a:tint val="75000"/>
                  </a:schemeClr>
                </a:solidFill>
              </a:defRPr>
            </a:lvl3pPr>
            <a:lvl4pPr marL="1828526" indent="0" algn="ctr">
              <a:buNone/>
              <a:defRPr>
                <a:solidFill>
                  <a:schemeClr val="tx1">
                    <a:tint val="75000"/>
                  </a:schemeClr>
                </a:solidFill>
              </a:defRPr>
            </a:lvl4pPr>
            <a:lvl5pPr marL="2438034" indent="0" algn="ctr">
              <a:buNone/>
              <a:defRPr>
                <a:solidFill>
                  <a:schemeClr val="tx1">
                    <a:tint val="75000"/>
                  </a:schemeClr>
                </a:solidFill>
              </a:defRPr>
            </a:lvl5pPr>
            <a:lvl6pPr marL="3047543" indent="0" algn="ctr">
              <a:buNone/>
              <a:defRPr>
                <a:solidFill>
                  <a:schemeClr val="tx1">
                    <a:tint val="75000"/>
                  </a:schemeClr>
                </a:solidFill>
              </a:defRPr>
            </a:lvl6pPr>
            <a:lvl7pPr marL="3657051" indent="0" algn="ctr">
              <a:buNone/>
              <a:defRPr>
                <a:solidFill>
                  <a:schemeClr val="tx1">
                    <a:tint val="75000"/>
                  </a:schemeClr>
                </a:solidFill>
              </a:defRPr>
            </a:lvl7pPr>
            <a:lvl8pPr marL="4266560" indent="0" algn="ctr">
              <a:buNone/>
              <a:defRPr>
                <a:solidFill>
                  <a:schemeClr val="tx1">
                    <a:tint val="75000"/>
                  </a:schemeClr>
                </a:solidFill>
              </a:defRPr>
            </a:lvl8pPr>
            <a:lvl9pPr marL="4876069" indent="0" algn="ctr">
              <a:buNone/>
              <a:defRPr>
                <a:solidFill>
                  <a:schemeClr val="tx1">
                    <a:tint val="75000"/>
                  </a:schemeClr>
                </a:solidFill>
              </a:defRPr>
            </a:lvl9pPr>
          </a:lstStyle>
          <a:p>
            <a:pPr lvl="0"/>
            <a:r>
              <a:rPr lang="en-CA" noProof="0"/>
              <a:t>Click to edit master text style</a:t>
            </a:r>
          </a:p>
        </p:txBody>
      </p:sp>
    </p:spTree>
    <p:extLst>
      <p:ext uri="{BB962C8B-B14F-4D97-AF65-F5344CB8AC3E}">
        <p14:creationId xmlns:p14="http://schemas.microsoft.com/office/powerpoint/2010/main" val="32597689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256E0DA-A79B-4BCA-89E9-D09A87CD973D}" type="datetimeFigureOut">
              <a:rPr lang="en-CA" smtClean="0"/>
              <a:t>2021-07-14</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1E9BCD71-2A8F-434D-BB0C-E030B1681E4F}" type="slidenum">
              <a:rPr lang="en-CA" smtClean="0"/>
              <a:t>‹#›</a:t>
            </a:fld>
            <a:endParaRPr lang="en-CA"/>
          </a:p>
        </p:txBody>
      </p:sp>
      <p:sp>
        <p:nvSpPr>
          <p:cNvPr id="6" name="Slide Number Placeholder 5"/>
          <p:cNvSpPr txBox="1">
            <a:spLocks/>
          </p:cNvSpPr>
          <p:nvPr/>
        </p:nvSpPr>
        <p:spPr>
          <a:xfrm>
            <a:off x="188055" y="425538"/>
            <a:ext cx="2607101" cy="1364728"/>
          </a:xfrm>
          <a:prstGeom prst="rect">
            <a:avLst/>
          </a:prstGeom>
          <a:noFill/>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1A290D8D-6BA0-418D-AFED-C65293F70DA0}" type="slidenum">
              <a:rPr lang="en-US" sz="13800" b="1" i="0" smtClean="0">
                <a:solidFill>
                  <a:schemeClr val="bg1">
                    <a:lumMod val="95000"/>
                  </a:schemeClr>
                </a:solidFill>
                <a:latin typeface="Arial" panose="020B0604020202020204" pitchFamily="34" charset="0"/>
                <a:ea typeface="Roboto Medium" charset="0"/>
                <a:cs typeface="Arial" panose="020B0604020202020204" pitchFamily="34" charset="0"/>
              </a:rPr>
              <a:pPr algn="l"/>
              <a:t>‹#›</a:t>
            </a:fld>
            <a:endParaRPr lang="en-US" sz="13800" b="0" i="0">
              <a:solidFill>
                <a:schemeClr val="bg1">
                  <a:lumMod val="85000"/>
                </a:schemeClr>
              </a:solidFill>
              <a:latin typeface="Roboto Medium" charset="0"/>
              <a:ea typeface="Roboto Medium" charset="0"/>
              <a:cs typeface="Roboto Medium" charset="0"/>
            </a:endParaRPr>
          </a:p>
        </p:txBody>
      </p:sp>
    </p:spTree>
    <p:extLst>
      <p:ext uri="{BB962C8B-B14F-4D97-AF65-F5344CB8AC3E}">
        <p14:creationId xmlns:p14="http://schemas.microsoft.com/office/powerpoint/2010/main" val="31998357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256E0DA-A79B-4BCA-89E9-D09A87CD973D}" type="datetimeFigureOut">
              <a:rPr lang="en-CA" smtClean="0"/>
              <a:t>2021-07-14</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1E9BCD71-2A8F-434D-BB0C-E030B1681E4F}" type="slidenum">
              <a:rPr lang="en-CA" smtClean="0"/>
              <a:t>‹#›</a:t>
            </a:fld>
            <a:endParaRPr lang="en-CA"/>
          </a:p>
        </p:txBody>
      </p:sp>
      <p:sp>
        <p:nvSpPr>
          <p:cNvPr id="6" name="Slide Number Placeholder 5"/>
          <p:cNvSpPr txBox="1">
            <a:spLocks/>
          </p:cNvSpPr>
          <p:nvPr/>
        </p:nvSpPr>
        <p:spPr>
          <a:xfrm>
            <a:off x="9484455" y="4864188"/>
            <a:ext cx="2607101" cy="1364728"/>
          </a:xfrm>
          <a:prstGeom prst="rect">
            <a:avLst/>
          </a:prstGeom>
          <a:noFill/>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1A290D8D-6BA0-418D-AFED-C65293F70DA0}" type="slidenum">
              <a:rPr lang="en-US" sz="13800" b="1" i="0" smtClean="0">
                <a:solidFill>
                  <a:schemeClr val="bg1">
                    <a:lumMod val="95000"/>
                  </a:schemeClr>
                </a:solidFill>
                <a:latin typeface="Arial" panose="020B0604020202020204" pitchFamily="34" charset="0"/>
                <a:ea typeface="Roboto Medium" charset="0"/>
                <a:cs typeface="Arial" panose="020B0604020202020204" pitchFamily="34" charset="0"/>
              </a:rPr>
              <a:pPr algn="l"/>
              <a:t>‹#›</a:t>
            </a:fld>
            <a:endParaRPr lang="en-US" sz="13800" b="0" i="0">
              <a:solidFill>
                <a:schemeClr val="bg1">
                  <a:lumMod val="85000"/>
                </a:schemeClr>
              </a:solidFill>
              <a:latin typeface="Roboto Medium" charset="0"/>
              <a:ea typeface="Roboto Medium" charset="0"/>
              <a:cs typeface="Roboto Medium" charset="0"/>
            </a:endParaRPr>
          </a:p>
        </p:txBody>
      </p:sp>
    </p:spTree>
    <p:extLst>
      <p:ext uri="{BB962C8B-B14F-4D97-AF65-F5344CB8AC3E}">
        <p14:creationId xmlns:p14="http://schemas.microsoft.com/office/powerpoint/2010/main" val="24083301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256E0DA-A79B-4BCA-89E9-D09A87CD973D}" type="datetimeFigureOut">
              <a:rPr lang="en-CA" smtClean="0"/>
              <a:t>2021-07-14</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1E9BCD71-2A8F-434D-BB0C-E030B1681E4F}" type="slidenum">
              <a:rPr lang="en-CA" smtClean="0"/>
              <a:t>‹#›</a:t>
            </a:fld>
            <a:endParaRPr lang="en-CA"/>
          </a:p>
        </p:txBody>
      </p:sp>
      <p:sp>
        <p:nvSpPr>
          <p:cNvPr id="6" name="Slide Number Placeholder 5"/>
          <p:cNvSpPr txBox="1">
            <a:spLocks/>
          </p:cNvSpPr>
          <p:nvPr/>
        </p:nvSpPr>
        <p:spPr>
          <a:xfrm>
            <a:off x="9484455" y="141360"/>
            <a:ext cx="2607101" cy="1364728"/>
          </a:xfrm>
          <a:prstGeom prst="rect">
            <a:avLst/>
          </a:prstGeom>
          <a:noFill/>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1A290D8D-6BA0-418D-AFED-C65293F70DA0}" type="slidenum">
              <a:rPr lang="en-US" sz="13800" b="1" i="0" smtClean="0">
                <a:solidFill>
                  <a:schemeClr val="bg1">
                    <a:lumMod val="95000"/>
                  </a:schemeClr>
                </a:solidFill>
                <a:latin typeface="Arial" panose="020B0604020202020204" pitchFamily="34" charset="0"/>
                <a:ea typeface="Roboto Medium" charset="0"/>
                <a:cs typeface="Arial" panose="020B0604020202020204" pitchFamily="34" charset="0"/>
              </a:rPr>
              <a:pPr algn="l"/>
              <a:t>‹#›</a:t>
            </a:fld>
            <a:endParaRPr lang="en-US" sz="13800" b="0" i="0">
              <a:solidFill>
                <a:schemeClr val="bg1">
                  <a:lumMod val="85000"/>
                </a:schemeClr>
              </a:solidFill>
              <a:latin typeface="Roboto Medium" charset="0"/>
              <a:ea typeface="Roboto Medium" charset="0"/>
              <a:cs typeface="Roboto Medium" charset="0"/>
            </a:endParaRPr>
          </a:p>
        </p:txBody>
      </p:sp>
    </p:spTree>
    <p:extLst>
      <p:ext uri="{BB962C8B-B14F-4D97-AF65-F5344CB8AC3E}">
        <p14:creationId xmlns:p14="http://schemas.microsoft.com/office/powerpoint/2010/main" val="14526666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6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159DFF5-4277-4F8D-815B-CA4ACBB22D03}"/>
              </a:ext>
            </a:extLst>
          </p:cNvPr>
          <p:cNvGraphicFramePr>
            <a:graphicFrameLocks noChangeAspect="1"/>
          </p:cNvGraphicFramePr>
          <p:nvPr>
            <p:custDataLst>
              <p:tags r:id="rId2"/>
            </p:custDataLst>
          </p:nvPr>
        </p:nvGraphicFramePr>
        <p:xfrm>
          <a:off x="1059" y="795"/>
          <a:ext cx="1058" cy="794"/>
        </p:xfrm>
        <a:graphic>
          <a:graphicData uri="http://schemas.openxmlformats.org/presentationml/2006/ole">
            <mc:AlternateContent xmlns:mc="http://schemas.openxmlformats.org/markup-compatibility/2006">
              <mc:Choice xmlns:v="urn:schemas-microsoft-com:vml" Requires="v">
                <p:oleObj spid="_x0000_s6279"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0159DFF5-4277-4F8D-815B-CA4ACBB22D03}"/>
                          </a:ext>
                        </a:extLst>
                      </p:cNvPr>
                      <p:cNvPicPr/>
                      <p:nvPr/>
                    </p:nvPicPr>
                    <p:blipFill>
                      <a:blip r:embed="rId5"/>
                      <a:stretch>
                        <a:fillRect/>
                      </a:stretch>
                    </p:blipFill>
                    <p:spPr>
                      <a:xfrm>
                        <a:off x="1059" y="795"/>
                        <a:ext cx="1058" cy="794"/>
                      </a:xfrm>
                      <a:prstGeom prst="rect">
                        <a:avLst/>
                      </a:prstGeom>
                    </p:spPr>
                  </p:pic>
                </p:oleObj>
              </mc:Fallback>
            </mc:AlternateContent>
          </a:graphicData>
        </a:graphic>
      </p:graphicFrame>
      <p:sp>
        <p:nvSpPr>
          <p:cNvPr id="13" name="Picture Placeholder 12"/>
          <p:cNvSpPr>
            <a:spLocks noGrp="1"/>
          </p:cNvSpPr>
          <p:nvPr>
            <p:ph type="pic" sz="quarter" idx="12"/>
          </p:nvPr>
        </p:nvSpPr>
        <p:spPr>
          <a:xfrm>
            <a:off x="1" y="0"/>
            <a:ext cx="7905087" cy="6858000"/>
          </a:xfrm>
          <a:custGeom>
            <a:avLst/>
            <a:gdLst>
              <a:gd name="connsiteX0" fmla="*/ 0 w 15806056"/>
              <a:gd name="connsiteY0" fmla="*/ 0 h 13716000"/>
              <a:gd name="connsiteX1" fmla="*/ 9050443 w 15806056"/>
              <a:gd name="connsiteY1" fmla="*/ 0 h 13716000"/>
              <a:gd name="connsiteX2" fmla="*/ 15806056 w 15806056"/>
              <a:gd name="connsiteY2" fmla="*/ 13716000 h 13716000"/>
              <a:gd name="connsiteX3" fmla="*/ 0 w 15806056"/>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15806056" h="13716000">
                <a:moveTo>
                  <a:pt x="0" y="0"/>
                </a:moveTo>
                <a:lnTo>
                  <a:pt x="9050443" y="0"/>
                </a:lnTo>
                <a:lnTo>
                  <a:pt x="15806056" y="13716000"/>
                </a:lnTo>
                <a:lnTo>
                  <a:pt x="0" y="13716000"/>
                </a:lnTo>
                <a:close/>
              </a:path>
            </a:pathLst>
          </a:custGeom>
          <a:solidFill>
            <a:schemeClr val="bg1">
              <a:lumMod val="95000"/>
            </a:schemeClr>
          </a:solidFill>
        </p:spPr>
        <p:txBody>
          <a:bodyPr wrap="square">
            <a:noAutofit/>
          </a:bodyPr>
          <a:lstStyle>
            <a:lvl1pPr>
              <a:defRPr sz="1200"/>
            </a:lvl1pPr>
          </a:lstStyle>
          <a:p>
            <a:r>
              <a:rPr lang="en-US"/>
              <a:t>Click icon to add picture</a:t>
            </a:r>
          </a:p>
        </p:txBody>
      </p:sp>
    </p:spTree>
    <p:extLst>
      <p:ext uri="{BB962C8B-B14F-4D97-AF65-F5344CB8AC3E}">
        <p14:creationId xmlns:p14="http://schemas.microsoft.com/office/powerpoint/2010/main" val="22141883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7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D9869D8-7794-41BA-A775-DF81327CE32F}"/>
              </a:ext>
            </a:extLst>
          </p:cNvPr>
          <p:cNvGraphicFramePr>
            <a:graphicFrameLocks noChangeAspect="1"/>
          </p:cNvGraphicFramePr>
          <p:nvPr>
            <p:custDataLst>
              <p:tags r:id="rId2"/>
            </p:custDataLst>
          </p:nvPr>
        </p:nvGraphicFramePr>
        <p:xfrm>
          <a:off x="1059" y="795"/>
          <a:ext cx="1058" cy="794"/>
        </p:xfrm>
        <a:graphic>
          <a:graphicData uri="http://schemas.openxmlformats.org/presentationml/2006/ole">
            <mc:AlternateContent xmlns:mc="http://schemas.openxmlformats.org/markup-compatibility/2006">
              <mc:Choice xmlns:v="urn:schemas-microsoft-com:vml" Requires="v">
                <p:oleObj spid="_x0000_s7303"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4D9869D8-7794-41BA-A775-DF81327CE32F}"/>
                          </a:ext>
                        </a:extLst>
                      </p:cNvPr>
                      <p:cNvPicPr/>
                      <p:nvPr/>
                    </p:nvPicPr>
                    <p:blipFill>
                      <a:blip r:embed="rId5"/>
                      <a:stretch>
                        <a:fillRect/>
                      </a:stretch>
                    </p:blipFill>
                    <p:spPr>
                      <a:xfrm>
                        <a:off x="1059" y="795"/>
                        <a:ext cx="1058" cy="794"/>
                      </a:xfrm>
                      <a:prstGeom prst="rect">
                        <a:avLst/>
                      </a:prstGeom>
                    </p:spPr>
                  </p:pic>
                </p:oleObj>
              </mc:Fallback>
            </mc:AlternateContent>
          </a:graphicData>
        </a:graphic>
      </p:graphicFrame>
      <p:sp>
        <p:nvSpPr>
          <p:cNvPr id="3" name="Picture Placeholder 2"/>
          <p:cNvSpPr>
            <a:spLocks noGrp="1"/>
          </p:cNvSpPr>
          <p:nvPr>
            <p:ph type="pic" sz="quarter" idx="10"/>
          </p:nvPr>
        </p:nvSpPr>
        <p:spPr>
          <a:xfrm>
            <a:off x="4279202" y="0"/>
            <a:ext cx="7912799" cy="6858000"/>
          </a:xfrm>
          <a:custGeom>
            <a:avLst/>
            <a:gdLst>
              <a:gd name="connsiteX0" fmla="*/ 6809359 w 15821476"/>
              <a:gd name="connsiteY0" fmla="*/ 0 h 13716000"/>
              <a:gd name="connsiteX1" fmla="*/ 15821476 w 15821476"/>
              <a:gd name="connsiteY1" fmla="*/ 0 h 13716000"/>
              <a:gd name="connsiteX2" fmla="*/ 15821476 w 15821476"/>
              <a:gd name="connsiteY2" fmla="*/ 13716000 h 13716000"/>
              <a:gd name="connsiteX3" fmla="*/ 0 w 15821476"/>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15821476" h="13716000">
                <a:moveTo>
                  <a:pt x="6809359" y="0"/>
                </a:moveTo>
                <a:lnTo>
                  <a:pt x="15821476" y="0"/>
                </a:lnTo>
                <a:lnTo>
                  <a:pt x="15821476" y="13716000"/>
                </a:lnTo>
                <a:lnTo>
                  <a:pt x="0" y="13716000"/>
                </a:lnTo>
                <a:close/>
              </a:path>
            </a:pathLst>
          </a:custGeom>
          <a:solidFill>
            <a:schemeClr val="bg1">
              <a:lumMod val="95000"/>
            </a:schemeClr>
          </a:solidFill>
        </p:spPr>
        <p:txBody>
          <a:bodyPr wrap="square">
            <a:noAutofit/>
          </a:bodyPr>
          <a:lstStyle>
            <a:lvl1pPr>
              <a:defRPr sz="2001"/>
            </a:lvl1pPr>
          </a:lstStyle>
          <a:p>
            <a:r>
              <a:rPr lang="en-US"/>
              <a:t>Click icon to add picture</a:t>
            </a:r>
          </a:p>
        </p:txBody>
      </p:sp>
      <p:sp>
        <p:nvSpPr>
          <p:cNvPr id="4" name="Slide Number Placeholder 5"/>
          <p:cNvSpPr txBox="1">
            <a:spLocks/>
          </p:cNvSpPr>
          <p:nvPr/>
        </p:nvSpPr>
        <p:spPr>
          <a:xfrm>
            <a:off x="9808305" y="5292813"/>
            <a:ext cx="2607101" cy="1364728"/>
          </a:xfrm>
          <a:prstGeom prst="rect">
            <a:avLst/>
          </a:prstGeom>
          <a:noFill/>
        </p:spPr>
        <p:txBody>
          <a:bodyPr vert="horz" wrap="none" lIns="121920" tIns="60960" rIns="121920" bIns="6096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785FC6A9-E296-4E6F-A991-3557BE38349D}" type="slidenum">
              <a:rPr lang="en-US" sz="13800" b="0" i="0" smtClean="0">
                <a:solidFill>
                  <a:schemeClr val="bg1"/>
                </a:solidFill>
                <a:latin typeface="Roboto Medium" charset="0"/>
                <a:ea typeface="Roboto Medium" charset="0"/>
                <a:cs typeface="Roboto Medium" charset="0"/>
              </a:rPr>
              <a:t>‹#›</a:t>
            </a:fld>
            <a:endParaRPr lang="en-US" sz="13800" b="0" i="0">
              <a:solidFill>
                <a:schemeClr val="bg1"/>
              </a:solidFill>
              <a:latin typeface="Roboto Medium" charset="0"/>
              <a:ea typeface="Roboto Medium" charset="0"/>
              <a:cs typeface="Roboto Medium" charset="0"/>
            </a:endParaRPr>
          </a:p>
        </p:txBody>
      </p:sp>
    </p:spTree>
    <p:extLst>
      <p:ext uri="{BB962C8B-B14F-4D97-AF65-F5344CB8AC3E}">
        <p14:creationId xmlns:p14="http://schemas.microsoft.com/office/powerpoint/2010/main" val="13479879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Placeholder">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2" y="2504664"/>
            <a:ext cx="12192001" cy="3695636"/>
          </a:xfrm>
          <a:solidFill>
            <a:schemeClr val="bg1">
              <a:lumMod val="95000"/>
            </a:schemeClr>
          </a:solidFill>
        </p:spPr>
        <p:txBody>
          <a:bodyPr>
            <a:normAutofit/>
          </a:bodyPr>
          <a:lstStyle>
            <a:lvl1pPr>
              <a:defRPr sz="1401"/>
            </a:lvl1pPr>
          </a:lstStyle>
          <a:p>
            <a:r>
              <a:rPr lang="en-US"/>
              <a:t>Click icon to add picture</a:t>
            </a:r>
          </a:p>
        </p:txBody>
      </p:sp>
    </p:spTree>
    <p:extLst>
      <p:ext uri="{BB962C8B-B14F-4D97-AF65-F5344CB8AC3E}">
        <p14:creationId xmlns:p14="http://schemas.microsoft.com/office/powerpoint/2010/main" val="37909824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4_Placeholder Slide">
    <p:spTree>
      <p:nvGrpSpPr>
        <p:cNvPr id="1" name=""/>
        <p:cNvGrpSpPr/>
        <p:nvPr/>
      </p:nvGrpSpPr>
      <p:grpSpPr>
        <a:xfrm>
          <a:off x="0" y="0"/>
          <a:ext cx="0" cy="0"/>
          <a:chOff x="0" y="0"/>
          <a:chExt cx="0" cy="0"/>
        </a:xfrm>
      </p:grpSpPr>
      <p:sp>
        <p:nvSpPr>
          <p:cNvPr id="7" name="Picture Placeholder 8"/>
          <p:cNvSpPr>
            <a:spLocks noGrp="1"/>
          </p:cNvSpPr>
          <p:nvPr>
            <p:ph type="pic" sz="quarter" idx="12"/>
          </p:nvPr>
        </p:nvSpPr>
        <p:spPr>
          <a:xfrm>
            <a:off x="3962653" y="3094893"/>
            <a:ext cx="4253068" cy="3743515"/>
          </a:xfrm>
          <a:prstGeom prst="rect">
            <a:avLst/>
          </a:prstGeom>
          <a:solidFill>
            <a:schemeClr val="bg1">
              <a:lumMod val="95000"/>
            </a:schemeClr>
          </a:solidFill>
        </p:spPr>
        <p:txBody>
          <a:bodyPr>
            <a:normAutofit/>
          </a:bodyPr>
          <a:lstStyle>
            <a:lvl1pPr>
              <a:defRPr sz="1401"/>
            </a:lvl1pPr>
          </a:lstStyle>
          <a:p>
            <a:r>
              <a:rPr lang="en-US"/>
              <a:t>Click icon to add picture</a:t>
            </a:r>
          </a:p>
        </p:txBody>
      </p:sp>
    </p:spTree>
    <p:extLst>
      <p:ext uri="{BB962C8B-B14F-4D97-AF65-F5344CB8AC3E}">
        <p14:creationId xmlns:p14="http://schemas.microsoft.com/office/powerpoint/2010/main" val="9918747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3_Placeholder Slide">
    <p:spTree>
      <p:nvGrpSpPr>
        <p:cNvPr id="1" name=""/>
        <p:cNvGrpSpPr/>
        <p:nvPr/>
      </p:nvGrpSpPr>
      <p:grpSpPr>
        <a:xfrm>
          <a:off x="0" y="0"/>
          <a:ext cx="0" cy="0"/>
          <a:chOff x="0" y="0"/>
          <a:chExt cx="0" cy="0"/>
        </a:xfrm>
      </p:grpSpPr>
      <p:sp>
        <p:nvSpPr>
          <p:cNvPr id="10" name="Picture Placeholder 8"/>
          <p:cNvSpPr>
            <a:spLocks noGrp="1"/>
          </p:cNvSpPr>
          <p:nvPr>
            <p:ph type="pic" sz="quarter" idx="10"/>
          </p:nvPr>
        </p:nvSpPr>
        <p:spPr>
          <a:xfrm>
            <a:off x="1247873" y="2104139"/>
            <a:ext cx="3005240" cy="3006789"/>
          </a:xfrm>
          <a:prstGeom prst="rect">
            <a:avLst/>
          </a:prstGeom>
          <a:solidFill>
            <a:schemeClr val="bg1">
              <a:lumMod val="95000"/>
            </a:schemeClr>
          </a:solidFill>
        </p:spPr>
        <p:txBody>
          <a:bodyPr>
            <a:normAutofit/>
          </a:bodyPr>
          <a:lstStyle>
            <a:lvl1pPr>
              <a:defRPr sz="1401"/>
            </a:lvl1pPr>
          </a:lstStyle>
          <a:p>
            <a:r>
              <a:rPr lang="en-US"/>
              <a:t>Click icon to add picture</a:t>
            </a:r>
          </a:p>
        </p:txBody>
      </p:sp>
      <p:sp>
        <p:nvSpPr>
          <p:cNvPr id="11" name="Picture Placeholder 8"/>
          <p:cNvSpPr>
            <a:spLocks noGrp="1"/>
          </p:cNvSpPr>
          <p:nvPr>
            <p:ph type="pic" sz="quarter" idx="11"/>
          </p:nvPr>
        </p:nvSpPr>
        <p:spPr>
          <a:xfrm>
            <a:off x="4574326" y="2104139"/>
            <a:ext cx="3005240" cy="3006789"/>
          </a:xfrm>
          <a:prstGeom prst="rect">
            <a:avLst/>
          </a:prstGeom>
          <a:solidFill>
            <a:schemeClr val="bg1">
              <a:lumMod val="95000"/>
            </a:schemeClr>
          </a:solidFill>
        </p:spPr>
        <p:txBody>
          <a:bodyPr>
            <a:normAutofit/>
          </a:bodyPr>
          <a:lstStyle>
            <a:lvl1pPr>
              <a:defRPr sz="1401"/>
            </a:lvl1pPr>
          </a:lstStyle>
          <a:p>
            <a:r>
              <a:rPr lang="en-US"/>
              <a:t>Click icon to add picture</a:t>
            </a:r>
          </a:p>
        </p:txBody>
      </p:sp>
      <p:sp>
        <p:nvSpPr>
          <p:cNvPr id="12" name="Picture Placeholder 8"/>
          <p:cNvSpPr>
            <a:spLocks noGrp="1"/>
          </p:cNvSpPr>
          <p:nvPr>
            <p:ph type="pic" sz="quarter" idx="12"/>
          </p:nvPr>
        </p:nvSpPr>
        <p:spPr>
          <a:xfrm>
            <a:off x="7900777" y="2104139"/>
            <a:ext cx="3005240" cy="3006789"/>
          </a:xfrm>
          <a:prstGeom prst="rect">
            <a:avLst/>
          </a:prstGeom>
          <a:solidFill>
            <a:schemeClr val="bg1">
              <a:lumMod val="95000"/>
            </a:schemeClr>
          </a:solidFill>
        </p:spPr>
        <p:txBody>
          <a:bodyPr>
            <a:normAutofit/>
          </a:bodyPr>
          <a:lstStyle>
            <a:lvl1pPr>
              <a:defRPr sz="1401"/>
            </a:lvl1pPr>
          </a:lstStyle>
          <a:p>
            <a:r>
              <a:rPr lang="en-US"/>
              <a:t>Click icon to add picture</a:t>
            </a:r>
          </a:p>
        </p:txBody>
      </p:sp>
    </p:spTree>
    <p:extLst>
      <p:ext uri="{BB962C8B-B14F-4D97-AF65-F5344CB8AC3E}">
        <p14:creationId xmlns:p14="http://schemas.microsoft.com/office/powerpoint/2010/main" val="2409831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56E0DA-A79B-4BCA-89E9-D09A87CD973D}" type="datetimeFigureOut">
              <a:rPr lang="en-CA" smtClean="0"/>
              <a:t>2021-07-14</a:t>
            </a:fld>
            <a:endParaRPr lang="en-C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Tree>
    <p:extLst>
      <p:ext uri="{BB962C8B-B14F-4D97-AF65-F5344CB8AC3E}">
        <p14:creationId xmlns:p14="http://schemas.microsoft.com/office/powerpoint/2010/main" val="22293564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9" r:id="rId8"/>
    <p:sldLayoutId id="2147483670" r:id="rId9"/>
    <p:sldLayoutId id="2147483671" r:id="rId10"/>
    <p:sldLayoutId id="214748367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mailto:executivelearning-apprentissagepourlescadres@csps-efpc.gc.ca" TargetMode="External"/><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83027" y="2246267"/>
            <a:ext cx="11590976" cy="3693319"/>
          </a:xfrm>
          <a:prstGeom prst="rect">
            <a:avLst/>
          </a:prstGeom>
          <a:noFill/>
        </p:spPr>
        <p:txBody>
          <a:bodyPr wrap="square" rtlCol="0">
            <a:spAutoFit/>
          </a:bodyPr>
          <a:lstStyle/>
          <a:p>
            <a:pPr algn="ctr">
              <a:defRPr/>
            </a:pPr>
            <a:r>
              <a:rPr lang="en-US" sz="7200" b="1" dirty="0">
                <a:solidFill>
                  <a:schemeClr val="bg1">
                    <a:lumMod val="95000"/>
                  </a:schemeClr>
                </a:solidFill>
                <a:latin typeface="Ebrima" panose="02000000000000000000" pitchFamily="2" charset="0"/>
                <a:ea typeface="Ebrima" panose="02000000000000000000" pitchFamily="2" charset="0"/>
                <a:cs typeface="Ebrima" panose="02000000000000000000" pitchFamily="2" charset="0"/>
              </a:rPr>
              <a:t>Finding Opportunities </a:t>
            </a:r>
          </a:p>
          <a:p>
            <a:pPr algn="ctr">
              <a:defRPr/>
            </a:pPr>
            <a:r>
              <a:rPr lang="en-US" sz="7200" b="1" dirty="0">
                <a:solidFill>
                  <a:schemeClr val="bg1">
                    <a:lumMod val="95000"/>
                  </a:schemeClr>
                </a:solidFill>
                <a:latin typeface="Ebrima" panose="02000000000000000000" pitchFamily="2" charset="0"/>
                <a:ea typeface="Ebrima" panose="02000000000000000000" pitchFamily="2" charset="0"/>
                <a:cs typeface="Ebrima" panose="02000000000000000000" pitchFamily="2" charset="0"/>
              </a:rPr>
              <a:t>in Challenging Times</a:t>
            </a:r>
            <a:endParaRPr lang="en-CA" sz="7200" b="1" dirty="0">
              <a:solidFill>
                <a:schemeClr val="bg1">
                  <a:lumMod val="95000"/>
                </a:schemeClr>
              </a:solidFill>
              <a:latin typeface="Ebrima" panose="02000000000000000000" pitchFamily="2" charset="0"/>
              <a:ea typeface="Ebrima" panose="02000000000000000000" pitchFamily="2" charset="0"/>
              <a:cs typeface="Ebrima" panose="020000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8800" b="1" i="0" u="none" strike="noStrike" kern="1200" cap="none" spc="0" normalizeH="0" baseline="0" noProof="0" dirty="0">
              <a:ln>
                <a:noFill/>
              </a:ln>
              <a:solidFill>
                <a:schemeClr val="bg1"/>
              </a:solidFill>
              <a:effectLst/>
              <a:uLnTx/>
              <a:uFillTx/>
              <a:latin typeface="Century Gothic" panose="020B0502020202020204" pitchFamily="34" charset="0"/>
            </a:endParaRPr>
          </a:p>
        </p:txBody>
      </p:sp>
      <p:sp>
        <p:nvSpPr>
          <p:cNvPr id="8" name="TextBox 7"/>
          <p:cNvSpPr txBox="1"/>
          <p:nvPr/>
        </p:nvSpPr>
        <p:spPr>
          <a:xfrm>
            <a:off x="842021" y="5059109"/>
            <a:ext cx="10507958"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CA" sz="2000" b="1" spc="300" dirty="0">
                <a:solidFill>
                  <a:schemeClr val="bg1">
                    <a:lumMod val="85000"/>
                  </a:schemeClr>
                </a:solidFill>
                <a:latin typeface="Montserrat Semi" charset="0"/>
                <a:ea typeface="Montserrat Semi" charset="0"/>
                <a:cs typeface="Montserrat Semi" charset="0"/>
              </a:rPr>
              <a:t>Guide to a </a:t>
            </a:r>
            <a:r>
              <a:rPr lang="fr-CA" sz="2000" b="1" spc="300" dirty="0" err="1">
                <a:solidFill>
                  <a:schemeClr val="bg1">
                    <a:lumMod val="85000"/>
                  </a:schemeClr>
                </a:solidFill>
                <a:latin typeface="Montserrat Semi" charset="0"/>
                <a:ea typeface="Montserrat Semi" charset="0"/>
                <a:cs typeface="Montserrat Semi" charset="0"/>
              </a:rPr>
              <a:t>meaningful</a:t>
            </a:r>
            <a:r>
              <a:rPr lang="fr-CA" sz="2000" b="1" spc="300" dirty="0">
                <a:solidFill>
                  <a:schemeClr val="bg1">
                    <a:lumMod val="85000"/>
                  </a:schemeClr>
                </a:solidFill>
                <a:latin typeface="Montserrat Semi" charset="0"/>
                <a:ea typeface="Montserrat Semi" charset="0"/>
                <a:cs typeface="Montserrat Semi" charset="0"/>
              </a:rPr>
              <a:t> conversation – A coaching </a:t>
            </a:r>
            <a:r>
              <a:rPr lang="fr-CA" sz="2000" b="1" spc="300" dirty="0" err="1">
                <a:solidFill>
                  <a:schemeClr val="bg1">
                    <a:lumMod val="85000"/>
                  </a:schemeClr>
                </a:solidFill>
                <a:latin typeface="Montserrat Semi" charset="0"/>
                <a:ea typeface="Montserrat Semi" charset="0"/>
                <a:cs typeface="Montserrat Semi" charset="0"/>
              </a:rPr>
              <a:t>approach</a:t>
            </a:r>
            <a:endParaRPr kumimoji="0" lang="en-US" sz="2000" b="1" i="0" u="none" strike="noStrike" kern="1200" cap="none" spc="300" normalizeH="0" baseline="0" noProof="0" dirty="0">
              <a:ln>
                <a:noFill/>
              </a:ln>
              <a:solidFill>
                <a:schemeClr val="tx2">
                  <a:lumMod val="20000"/>
                  <a:lumOff val="80000"/>
                </a:schemeClr>
              </a:solidFill>
              <a:effectLst/>
              <a:uLnTx/>
              <a:uFillTx/>
              <a:latin typeface="Montserrat Semi" charset="0"/>
              <a:ea typeface="Montserrat Semi" charset="0"/>
              <a:cs typeface="Montserrat Semi" charset="0"/>
            </a:endParaRPr>
          </a:p>
        </p:txBody>
      </p:sp>
    </p:spTree>
    <p:extLst>
      <p:ext uri="{BB962C8B-B14F-4D97-AF65-F5344CB8AC3E}">
        <p14:creationId xmlns:p14="http://schemas.microsoft.com/office/powerpoint/2010/main" val="33409474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032" y="-8149"/>
            <a:ext cx="12192000" cy="3491578"/>
          </a:xfrm>
          <a:prstGeom prst="rect">
            <a:avLst/>
          </a:prstGeom>
          <a:solidFill>
            <a:srgbClr val="4735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p:cNvSpPr txBox="1"/>
          <p:nvPr/>
        </p:nvSpPr>
        <p:spPr>
          <a:xfrm>
            <a:off x="2107973" y="250582"/>
            <a:ext cx="7958982" cy="13236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4001" b="1" dirty="0" err="1">
                <a:solidFill>
                  <a:schemeClr val="bg1"/>
                </a:solidFill>
                <a:latin typeface="Montserrat Semi" charset="0"/>
                <a:ea typeface="Montserrat Semi" charset="0"/>
                <a:cs typeface="Montserrat Semi" charset="0"/>
              </a:rPr>
              <a:t>What</a:t>
            </a:r>
            <a:r>
              <a:rPr lang="fr-CA" sz="4001" b="1" dirty="0">
                <a:solidFill>
                  <a:schemeClr val="bg1"/>
                </a:solidFill>
                <a:latin typeface="Montserrat Semi" charset="0"/>
                <a:ea typeface="Montserrat Semi" charset="0"/>
                <a:cs typeface="Montserrat Semi" charset="0"/>
              </a:rPr>
              <a:t> </a:t>
            </a:r>
            <a:r>
              <a:rPr lang="fr-CA" sz="4001" b="1" dirty="0" err="1">
                <a:solidFill>
                  <a:schemeClr val="bg1"/>
                </a:solidFill>
                <a:latin typeface="Montserrat Semi" charset="0"/>
                <a:ea typeface="Montserrat Semi" charset="0"/>
                <a:cs typeface="Montserrat Semi" charset="0"/>
              </a:rPr>
              <a:t>you</a:t>
            </a:r>
            <a:r>
              <a:rPr lang="fr-CA" sz="4001" b="1" dirty="0">
                <a:solidFill>
                  <a:schemeClr val="bg1"/>
                </a:solidFill>
                <a:latin typeface="Montserrat Semi" charset="0"/>
                <a:ea typeface="Montserrat Semi" charset="0"/>
                <a:cs typeface="Montserrat Semi" charset="0"/>
              </a:rPr>
              <a:t> </a:t>
            </a:r>
            <a:r>
              <a:rPr lang="fr-CA" sz="4001" b="1" dirty="0" err="1">
                <a:solidFill>
                  <a:schemeClr val="bg1"/>
                </a:solidFill>
                <a:latin typeface="Montserrat Semi" charset="0"/>
                <a:ea typeface="Montserrat Semi" charset="0"/>
                <a:cs typeface="Montserrat Semi" charset="0"/>
              </a:rPr>
              <a:t>need</a:t>
            </a:r>
            <a:r>
              <a:rPr lang="fr-CA" sz="4001" b="1" dirty="0">
                <a:solidFill>
                  <a:schemeClr val="bg1"/>
                </a:solidFill>
                <a:latin typeface="Montserrat Semi" charset="0"/>
                <a:ea typeface="Montserrat Semi" charset="0"/>
                <a:cs typeface="Montserrat Semi" charset="0"/>
              </a:rPr>
              <a:t> to know </a:t>
            </a:r>
            <a:br>
              <a:rPr lang="fr-CA" sz="4001" b="1" dirty="0">
                <a:solidFill>
                  <a:schemeClr val="bg1"/>
                </a:solidFill>
                <a:latin typeface="Montserrat Semi" charset="0"/>
                <a:ea typeface="Montserrat Semi" charset="0"/>
                <a:cs typeface="Montserrat Semi" charset="0"/>
              </a:rPr>
            </a:br>
            <a:r>
              <a:rPr lang="fr-CA" sz="4001" b="1" dirty="0" err="1">
                <a:solidFill>
                  <a:schemeClr val="bg1"/>
                </a:solidFill>
                <a:latin typeface="Montserrat Semi" charset="0"/>
                <a:ea typeface="Montserrat Semi" charset="0"/>
                <a:cs typeface="Montserrat Semi" charset="0"/>
              </a:rPr>
              <a:t>before</a:t>
            </a:r>
            <a:r>
              <a:rPr lang="fr-CA" sz="4001" b="1" dirty="0">
                <a:solidFill>
                  <a:schemeClr val="bg1"/>
                </a:solidFill>
                <a:latin typeface="Montserrat Semi" charset="0"/>
                <a:ea typeface="Montserrat Semi" charset="0"/>
                <a:cs typeface="Montserrat Semi" charset="0"/>
              </a:rPr>
              <a:t> the conversation</a:t>
            </a:r>
            <a:endParaRPr kumimoji="0" lang="en-US" sz="4001" b="1" i="0" u="none" strike="noStrike" kern="1200" cap="none" spc="0" normalizeH="0" baseline="0" noProof="0" dirty="0">
              <a:ln>
                <a:noFill/>
              </a:ln>
              <a:solidFill>
                <a:schemeClr val="bg1"/>
              </a:solidFill>
              <a:effectLst/>
              <a:uLnTx/>
              <a:uFillTx/>
              <a:latin typeface="Montserrat Semi" charset="0"/>
              <a:ea typeface="Montserrat Semi" charset="0"/>
              <a:cs typeface="Montserrat Semi" charset="0"/>
            </a:endParaRPr>
          </a:p>
        </p:txBody>
      </p:sp>
      <p:sp>
        <p:nvSpPr>
          <p:cNvPr id="18" name="TextBox 17"/>
          <p:cNvSpPr txBox="1"/>
          <p:nvPr/>
        </p:nvSpPr>
        <p:spPr>
          <a:xfrm>
            <a:off x="3215816" y="3828869"/>
            <a:ext cx="5758307"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800" b="1" err="1">
                <a:latin typeface="Montserrat Semi" charset="0"/>
                <a:ea typeface="Montserrat Semi" charset="0"/>
                <a:cs typeface="Montserrat Semi" charset="0"/>
              </a:rPr>
              <a:t>Qualities</a:t>
            </a:r>
            <a:r>
              <a:rPr lang="fr-CA" sz="2800" b="1">
                <a:latin typeface="Montserrat Semi" charset="0"/>
                <a:ea typeface="Montserrat Semi" charset="0"/>
                <a:cs typeface="Montserrat Semi" charset="0"/>
              </a:rPr>
              <a:t> of a good conversation</a:t>
            </a:r>
            <a:endParaRPr kumimoji="0" lang="en-US" sz="2800" b="1" i="0" u="none" strike="noStrike" kern="1200" cap="none" spc="0" normalizeH="0" baseline="0" noProof="0">
              <a:ln>
                <a:noFill/>
              </a:ln>
              <a:effectLst/>
              <a:uLnTx/>
              <a:uFillTx/>
              <a:latin typeface="Montserrat Semi" charset="0"/>
              <a:ea typeface="Montserrat Semi" charset="0"/>
              <a:cs typeface="Montserrat Semi"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947637050"/>
              </p:ext>
            </p:extLst>
          </p:nvPr>
        </p:nvGraphicFramePr>
        <p:xfrm>
          <a:off x="1690255" y="1551709"/>
          <a:ext cx="8727576" cy="1828800"/>
        </p:xfrm>
        <a:graphic>
          <a:graphicData uri="http://schemas.openxmlformats.org/drawingml/2006/table">
            <a:tbl>
              <a:tblPr firstRow="1" bandRow="1">
                <a:effectLst/>
                <a:tableStyleId>{5C22544A-7EE6-4342-B048-85BDC9FD1C3A}</a:tableStyleId>
              </a:tblPr>
              <a:tblGrid>
                <a:gridCol w="2909192">
                  <a:extLst>
                    <a:ext uri="{9D8B030D-6E8A-4147-A177-3AD203B41FA5}">
                      <a16:colId xmlns:a16="http://schemas.microsoft.com/office/drawing/2014/main" val="1710148590"/>
                    </a:ext>
                  </a:extLst>
                </a:gridCol>
                <a:gridCol w="2909192">
                  <a:extLst>
                    <a:ext uri="{9D8B030D-6E8A-4147-A177-3AD203B41FA5}">
                      <a16:colId xmlns:a16="http://schemas.microsoft.com/office/drawing/2014/main" val="3708590970"/>
                    </a:ext>
                  </a:extLst>
                </a:gridCol>
                <a:gridCol w="2909192">
                  <a:extLst>
                    <a:ext uri="{9D8B030D-6E8A-4147-A177-3AD203B41FA5}">
                      <a16:colId xmlns:a16="http://schemas.microsoft.com/office/drawing/2014/main" val="2428895786"/>
                    </a:ext>
                  </a:extLst>
                </a:gridCol>
              </a:tblGrid>
              <a:tr h="33502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u="none" spc="300" dirty="0">
                          <a:solidFill>
                            <a:schemeClr val="bg1"/>
                          </a:solidFill>
                          <a:latin typeface="Montserrat Semi"/>
                          <a:ea typeface="Montserrat Semi" charset="0"/>
                          <a:cs typeface="Montserrat Semi" charset="0"/>
                        </a:rPr>
                        <a:t>DURATION</a:t>
                      </a:r>
                    </a:p>
                  </a:txBody>
                  <a:tcPr anchor="ctr">
                    <a:solidFill>
                      <a:schemeClr val="tx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u="none" spc="300" dirty="0">
                          <a:solidFill>
                            <a:schemeClr val="bg1"/>
                          </a:solidFill>
                          <a:latin typeface="Montserrat Semi"/>
                          <a:ea typeface="Montserrat Semi" charset="0"/>
                          <a:cs typeface="Montserrat Semi" charset="0"/>
                        </a:rPr>
                        <a:t>FORMAT</a:t>
                      </a:r>
                    </a:p>
                  </a:txBody>
                  <a:tcPr anchor="ctr">
                    <a:solidFill>
                      <a:schemeClr val="tx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u="none" spc="300" dirty="0">
                          <a:solidFill>
                            <a:schemeClr val="bg1"/>
                          </a:solidFill>
                          <a:latin typeface="Montserrat Semi"/>
                          <a:ea typeface="Montserrat Semi" charset="0"/>
                          <a:cs typeface="Montserrat Semi" charset="0"/>
                        </a:rPr>
                        <a:t>QUESTIONS</a:t>
                      </a:r>
                    </a:p>
                  </a:txBody>
                  <a:tcPr anchor="ctr">
                    <a:solidFill>
                      <a:schemeClr val="tx2">
                        <a:lumMod val="60000"/>
                        <a:lumOff val="40000"/>
                      </a:schemeClr>
                    </a:solidFill>
                  </a:tcPr>
                </a:tc>
                <a:extLst>
                  <a:ext uri="{0D108BD9-81ED-4DB2-BD59-A6C34878D82A}">
                    <a16:rowId xmlns:a16="http://schemas.microsoft.com/office/drawing/2014/main" val="1104849205"/>
                  </a:ext>
                </a:extLst>
              </a:tr>
              <a:tr h="1442069">
                <a:tc>
                  <a:txBody>
                    <a:bodyPr/>
                    <a:lstStyle/>
                    <a:p>
                      <a:pPr marL="0" marR="0" lvl="0" indent="0" algn="ctr" rtl="0" eaLnBrk="1" fontAlgn="auto" latinLnBrk="0" hangingPunct="1">
                        <a:lnSpc>
                          <a:spcPct val="100000"/>
                        </a:lnSpc>
                        <a:spcBef>
                          <a:spcPts val="0"/>
                        </a:spcBef>
                        <a:spcAft>
                          <a:spcPts val="0"/>
                        </a:spcAft>
                        <a:buFontTx/>
                        <a:buNone/>
                      </a:pPr>
                      <a:r>
                        <a:rPr kumimoji="0" lang="fr-CA" b="1" i="0" u="none" strike="noStrike" kern="1200" cap="none" spc="300" normalizeH="0" baseline="0" noProof="0" dirty="0">
                          <a:ln>
                            <a:noFill/>
                          </a:ln>
                          <a:solidFill>
                            <a:schemeClr val="bg1">
                              <a:lumMod val="95000"/>
                            </a:schemeClr>
                          </a:solidFill>
                          <a:effectLst/>
                          <a:uLnTx/>
                          <a:uFillTx/>
                          <a:latin typeface="Montserrat Semi"/>
                          <a:ea typeface="Montserrat Semi" charset="0"/>
                          <a:cs typeface="Montserrat Semi" charset="0"/>
                        </a:rPr>
                        <a:t>60 to 90</a:t>
                      </a:r>
                      <a:r>
                        <a:rPr lang="fr-CA" b="1" i="0" u="none" strike="noStrike" kern="1200" cap="none" spc="300" normalizeH="0" noProof="0" dirty="0">
                          <a:ln>
                            <a:noFill/>
                          </a:ln>
                          <a:solidFill>
                            <a:schemeClr val="bg1">
                              <a:lumMod val="95000"/>
                            </a:schemeClr>
                          </a:solidFill>
                          <a:effectLst/>
                          <a:uLnTx/>
                          <a:uFillTx/>
                          <a:latin typeface="Montserrat Semi"/>
                          <a:ea typeface="Montserrat Semi" charset="0"/>
                          <a:cs typeface="Montserrat Semi" charset="0"/>
                        </a:rPr>
                        <a:t> </a:t>
                      </a:r>
                      <a:endParaRPr lang="en-US" b="1" i="0" u="none" strike="noStrike" kern="1200" cap="none" spc="300" normalizeH="0" baseline="0" noProof="0">
                        <a:ln>
                          <a:noFill/>
                        </a:ln>
                        <a:solidFill>
                          <a:schemeClr val="bg1">
                            <a:lumMod val="95000"/>
                          </a:schemeClr>
                        </a:solidFill>
                        <a:effectLst/>
                        <a:uLnTx/>
                        <a:uFillTx/>
                        <a:latin typeface="Montserrat Semi"/>
                        <a:ea typeface="Montserrat Semi" charset="0"/>
                        <a:cs typeface="Montserrat Semi" charset="0"/>
                      </a:endParaRPr>
                    </a:p>
                    <a:p>
                      <a:pPr marL="0" marR="0" lvl="0" indent="0" algn="ctr" defTabSz="914400">
                        <a:lnSpc>
                          <a:spcPct val="100000"/>
                        </a:lnSpc>
                        <a:spcBef>
                          <a:spcPts val="0"/>
                        </a:spcBef>
                        <a:spcAft>
                          <a:spcPts val="0"/>
                        </a:spcAft>
                        <a:buClrTx/>
                        <a:buSzTx/>
                        <a:buFontTx/>
                        <a:buNone/>
                        <a:tabLst/>
                        <a:defRPr/>
                      </a:pPr>
                      <a:r>
                        <a:rPr kumimoji="0" lang="fr-CA" b="1" i="0" u="none" strike="noStrike" kern="1200" cap="none" spc="300" normalizeH="0" noProof="0" dirty="0">
                          <a:ln>
                            <a:noFill/>
                          </a:ln>
                          <a:solidFill>
                            <a:schemeClr val="bg1">
                              <a:lumMod val="95000"/>
                            </a:schemeClr>
                          </a:solidFill>
                          <a:effectLst/>
                          <a:uLnTx/>
                          <a:uFillTx/>
                          <a:latin typeface="Montserrat Semi"/>
                          <a:ea typeface="Montserrat Semi" charset="0"/>
                          <a:cs typeface="Montserrat Semi" charset="0"/>
                        </a:rPr>
                        <a:t>minutes</a:t>
                      </a:r>
                      <a:endParaRPr kumimoji="0" lang="en-US" b="1" i="0" u="none" strike="noStrike" kern="1200" cap="none" spc="300" normalizeH="0" baseline="0" noProof="0" dirty="0">
                        <a:ln>
                          <a:noFill/>
                        </a:ln>
                        <a:solidFill>
                          <a:schemeClr val="bg1">
                            <a:lumMod val="95000"/>
                          </a:schemeClr>
                        </a:solidFill>
                        <a:effectLst/>
                        <a:uLnTx/>
                        <a:uFillTx/>
                        <a:latin typeface="Montserrat Semi"/>
                        <a:ea typeface="Montserrat Semi" charset="0"/>
                        <a:cs typeface="Montserrat Semi" charset="0"/>
                      </a:endParaRPr>
                    </a:p>
                    <a:p>
                      <a:endParaRPr lang="en-CA"/>
                    </a:p>
                  </a:txBody>
                  <a:tcPr>
                    <a:solidFill>
                      <a:schemeClr val="tx2">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b="1" spc="300" dirty="0">
                          <a:solidFill>
                            <a:schemeClr val="bg1"/>
                          </a:solidFill>
                          <a:latin typeface="Montserrat Semi"/>
                          <a:ea typeface="Montserrat Semi" charset="0"/>
                          <a:cs typeface="Montserrat Semi" charset="0"/>
                        </a:rPr>
                        <a:t>Videoconference</a:t>
                      </a:r>
                      <a:r>
                        <a:rPr lang="fr-CA" b="1" spc="300" dirty="0">
                          <a:solidFill>
                            <a:schemeClr val="bg1"/>
                          </a:solidFill>
                          <a:latin typeface="Montserrat Semi"/>
                          <a:ea typeface="Montserrat Semi" charset="0"/>
                          <a:cs typeface="Montserrat Semi" charset="0"/>
                        </a:rPr>
                        <a:t> </a:t>
                      </a:r>
                      <a:r>
                        <a:rPr lang="fr-CA" b="1" spc="300" dirty="0" err="1">
                          <a:solidFill>
                            <a:schemeClr val="bg1"/>
                          </a:solidFill>
                          <a:latin typeface="Montserrat Semi"/>
                          <a:ea typeface="Montserrat Semi" charset="0"/>
                          <a:cs typeface="Montserrat Semi" charset="0"/>
                        </a:rPr>
                        <a:t>with</a:t>
                      </a:r>
                      <a:r>
                        <a:rPr lang="fr-CA" b="1" spc="300" dirty="0">
                          <a:solidFill>
                            <a:schemeClr val="bg1"/>
                          </a:solidFill>
                          <a:latin typeface="Montserrat Semi"/>
                          <a:ea typeface="Montserrat Semi" charset="0"/>
                          <a:cs typeface="Montserrat Semi" charset="0"/>
                        </a:rPr>
                        <a:t> a maximum of </a:t>
                      </a:r>
                      <a:r>
                        <a:rPr lang="fr-CA" b="1" spc="300" dirty="0">
                          <a:solidFill>
                            <a:schemeClr val="bg1">
                              <a:lumMod val="95000"/>
                            </a:schemeClr>
                          </a:solidFill>
                          <a:latin typeface="Montserrat Semi"/>
                          <a:ea typeface="Montserrat Semi" charset="0"/>
                          <a:cs typeface="Montserrat Semi" charset="0"/>
                        </a:rPr>
                        <a:t>8</a:t>
                      </a:r>
                      <a:r>
                        <a:rPr lang="fr-CA" b="1" spc="300" baseline="0" dirty="0">
                          <a:solidFill>
                            <a:schemeClr val="bg1">
                              <a:lumMod val="95000"/>
                            </a:schemeClr>
                          </a:solidFill>
                          <a:latin typeface="Montserrat Semi"/>
                          <a:ea typeface="Montserrat Semi" charset="0"/>
                          <a:cs typeface="Montserrat Semi" charset="0"/>
                        </a:rPr>
                        <a:t> participants</a:t>
                      </a:r>
                      <a:endParaRPr lang="fr-CA" b="1" spc="300" dirty="0">
                        <a:solidFill>
                          <a:schemeClr val="bg1">
                            <a:lumMod val="95000"/>
                          </a:schemeClr>
                        </a:solidFill>
                        <a:latin typeface="Montserrat Semi"/>
                        <a:ea typeface="Montserrat Semi" charset="0"/>
                        <a:cs typeface="Montserrat Semi" charset="0"/>
                      </a:endParaRPr>
                    </a:p>
                  </a:txBody>
                  <a:tcPr>
                    <a:solidFill>
                      <a:schemeClr val="tx2">
                        <a:lumMod val="60000"/>
                        <a:lumOff val="40000"/>
                      </a:schemeClr>
                    </a:solidFill>
                  </a:tcPr>
                </a:tc>
                <a:tc>
                  <a:txBody>
                    <a:bodyPr/>
                    <a:lstStyle/>
                    <a:p>
                      <a:pPr marL="0" marR="0" lvl="0" indent="0" algn="ctr" rtl="0" eaLnBrk="1" fontAlgn="auto" latinLnBrk="0" hangingPunct="1">
                        <a:lnSpc>
                          <a:spcPct val="100000"/>
                        </a:lnSpc>
                        <a:spcBef>
                          <a:spcPts val="0"/>
                        </a:spcBef>
                        <a:spcAft>
                          <a:spcPts val="0"/>
                        </a:spcAft>
                        <a:buFontTx/>
                        <a:buNone/>
                      </a:pPr>
                      <a:r>
                        <a:rPr lang="fr-CA" b="1" spc="300" dirty="0">
                          <a:solidFill>
                            <a:schemeClr val="bg1"/>
                          </a:solidFill>
                          <a:latin typeface="Montserrat Semi"/>
                          <a:ea typeface="Montserrat Semi" charset="0"/>
                          <a:cs typeface="Montserrat Semi" charset="0"/>
                        </a:rPr>
                        <a:t>You can </a:t>
                      </a:r>
                      <a:r>
                        <a:rPr lang="fr-CA" b="1" spc="300" dirty="0" err="1">
                          <a:solidFill>
                            <a:schemeClr val="bg1"/>
                          </a:solidFill>
                          <a:latin typeface="Montserrat Semi"/>
                          <a:ea typeface="Montserrat Semi" charset="0"/>
                          <a:cs typeface="Montserrat Semi" charset="0"/>
                        </a:rPr>
                        <a:t>choose</a:t>
                      </a:r>
                      <a:r>
                        <a:rPr lang="fr-CA" b="1" spc="300" dirty="0">
                          <a:solidFill>
                            <a:schemeClr val="bg1"/>
                          </a:solidFill>
                          <a:latin typeface="Montserrat Semi"/>
                          <a:ea typeface="Montserrat Semi" charset="0"/>
                          <a:cs typeface="Montserrat Semi" charset="0"/>
                        </a:rPr>
                        <a:t> </a:t>
                      </a:r>
                      <a:r>
                        <a:rPr lang="fr-CA" b="1" spc="300" dirty="0" err="1">
                          <a:solidFill>
                            <a:schemeClr val="bg1"/>
                          </a:solidFill>
                          <a:latin typeface="Montserrat Semi"/>
                          <a:ea typeface="Montserrat Semi" charset="0"/>
                          <a:cs typeface="Montserrat Semi" charset="0"/>
                        </a:rPr>
                        <a:t>whether</a:t>
                      </a:r>
                      <a:r>
                        <a:rPr lang="fr-CA" b="1" spc="300" dirty="0">
                          <a:solidFill>
                            <a:schemeClr val="bg1"/>
                          </a:solidFill>
                          <a:latin typeface="Montserrat Semi"/>
                          <a:ea typeface="Montserrat Semi" charset="0"/>
                          <a:cs typeface="Montserrat Semi" charset="0"/>
                        </a:rPr>
                        <a:t> or not to </a:t>
                      </a:r>
                      <a:r>
                        <a:rPr lang="fr-CA" b="1" spc="300" dirty="0" err="1">
                          <a:solidFill>
                            <a:schemeClr val="bg1"/>
                          </a:solidFill>
                          <a:latin typeface="Montserrat Semi"/>
                          <a:ea typeface="Montserrat Semi" charset="0"/>
                          <a:cs typeface="Montserrat Semi" charset="0"/>
                        </a:rPr>
                        <a:t>share</a:t>
                      </a:r>
                      <a:r>
                        <a:rPr lang="fr-CA" b="1" spc="300" dirty="0">
                          <a:solidFill>
                            <a:schemeClr val="bg1"/>
                          </a:solidFill>
                          <a:latin typeface="Montserrat Semi"/>
                          <a:ea typeface="Montserrat Semi" charset="0"/>
                          <a:cs typeface="Montserrat Semi" charset="0"/>
                        </a:rPr>
                        <a:t> the </a:t>
                      </a:r>
                      <a:endParaRPr lang="en-US" dirty="0"/>
                    </a:p>
                    <a:p>
                      <a:pPr marL="0" marR="0" lvl="0" indent="0" algn="ctr">
                        <a:lnSpc>
                          <a:spcPct val="100000"/>
                        </a:lnSpc>
                        <a:spcBef>
                          <a:spcPts val="0"/>
                        </a:spcBef>
                        <a:spcAft>
                          <a:spcPts val="0"/>
                        </a:spcAft>
                        <a:buFontTx/>
                        <a:buNone/>
                      </a:pPr>
                      <a:r>
                        <a:rPr lang="fr-CA" b="1" spc="300" dirty="0">
                          <a:solidFill>
                            <a:schemeClr val="bg1"/>
                          </a:solidFill>
                          <a:latin typeface="Montserrat Semi"/>
                          <a:ea typeface="Montserrat Semi" charset="0"/>
                          <a:cs typeface="Montserrat Semi" charset="0"/>
                        </a:rPr>
                        <a:t>questions</a:t>
                      </a:r>
                    </a:p>
                    <a:p>
                      <a:pPr marL="0" marR="0" lvl="0" indent="0" algn="ctr" rtl="0" eaLnBrk="1" fontAlgn="auto" latinLnBrk="0" hangingPunct="1">
                        <a:lnSpc>
                          <a:spcPct val="100000"/>
                        </a:lnSpc>
                        <a:spcBef>
                          <a:spcPts val="0"/>
                        </a:spcBef>
                        <a:spcAft>
                          <a:spcPts val="0"/>
                        </a:spcAft>
                        <a:buFontTx/>
                        <a:buNone/>
                      </a:pPr>
                      <a:r>
                        <a:rPr lang="fr-CA" b="1" spc="300" dirty="0">
                          <a:solidFill>
                            <a:schemeClr val="bg1"/>
                          </a:solidFill>
                          <a:latin typeface="Montserrat Semi"/>
                          <a:ea typeface="Montserrat Semi" charset="0"/>
                          <a:cs typeface="Montserrat Semi" charset="0"/>
                        </a:rPr>
                        <a:t>in </a:t>
                      </a:r>
                      <a:r>
                        <a:rPr lang="fr-CA" b="1" spc="300" dirty="0" err="1">
                          <a:solidFill>
                            <a:schemeClr val="bg1"/>
                          </a:solidFill>
                          <a:latin typeface="Montserrat Semi"/>
                          <a:ea typeface="Montserrat Semi" charset="0"/>
                          <a:cs typeface="Montserrat Semi" charset="0"/>
                        </a:rPr>
                        <a:t>advance</a:t>
                      </a:r>
                      <a:endParaRPr lang="fr-CA" b="1" spc="300" dirty="0">
                        <a:solidFill>
                          <a:schemeClr val="bg1"/>
                        </a:solidFill>
                        <a:latin typeface="Montserrat Semi"/>
                        <a:ea typeface="Montserrat Semi" charset="0"/>
                        <a:cs typeface="Montserrat Semi" charset="0"/>
                      </a:endParaRPr>
                    </a:p>
                  </a:txBody>
                  <a:tcPr>
                    <a:solidFill>
                      <a:schemeClr val="tx2">
                        <a:lumMod val="60000"/>
                        <a:lumOff val="40000"/>
                      </a:schemeClr>
                    </a:solidFill>
                  </a:tcPr>
                </a:tc>
                <a:extLst>
                  <a:ext uri="{0D108BD9-81ED-4DB2-BD59-A6C34878D82A}">
                    <a16:rowId xmlns:a16="http://schemas.microsoft.com/office/drawing/2014/main" val="1305656805"/>
                  </a:ext>
                </a:extLst>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660331553"/>
              </p:ext>
            </p:extLst>
          </p:nvPr>
        </p:nvGraphicFramePr>
        <p:xfrm>
          <a:off x="2002291" y="4471988"/>
          <a:ext cx="8060091" cy="2033587"/>
        </p:xfrm>
        <a:graphic>
          <a:graphicData uri="http://schemas.openxmlformats.org/drawingml/2006/table">
            <a:tbl>
              <a:tblPr firstRow="1" bandRow="1">
                <a:tableStyleId>{5C22544A-7EE6-4342-B048-85BDC9FD1C3A}</a:tableStyleId>
              </a:tblPr>
              <a:tblGrid>
                <a:gridCol w="2686697">
                  <a:extLst>
                    <a:ext uri="{9D8B030D-6E8A-4147-A177-3AD203B41FA5}">
                      <a16:colId xmlns:a16="http://schemas.microsoft.com/office/drawing/2014/main" val="3572384199"/>
                    </a:ext>
                  </a:extLst>
                </a:gridCol>
                <a:gridCol w="2686697">
                  <a:extLst>
                    <a:ext uri="{9D8B030D-6E8A-4147-A177-3AD203B41FA5}">
                      <a16:colId xmlns:a16="http://schemas.microsoft.com/office/drawing/2014/main" val="1378702042"/>
                    </a:ext>
                  </a:extLst>
                </a:gridCol>
                <a:gridCol w="2686697">
                  <a:extLst>
                    <a:ext uri="{9D8B030D-6E8A-4147-A177-3AD203B41FA5}">
                      <a16:colId xmlns:a16="http://schemas.microsoft.com/office/drawing/2014/main" val="1363210352"/>
                    </a:ext>
                  </a:extLst>
                </a:gridCol>
              </a:tblGrid>
              <a:tr h="971384">
                <a:tc>
                  <a:txBody>
                    <a:bodyPr/>
                    <a:lstStyle/>
                    <a:p>
                      <a:pPr algn="ctr"/>
                      <a:r>
                        <a:rPr lang="fr-CA" b="1" spc="300" err="1">
                          <a:solidFill>
                            <a:srgbClr val="473561"/>
                          </a:solidFill>
                          <a:latin typeface="Montserrat Semi" charset="0"/>
                          <a:ea typeface="Montserrat Semi" charset="0"/>
                          <a:cs typeface="Montserrat Semi" charset="0"/>
                        </a:rPr>
                        <a:t>Empathetic</a:t>
                      </a:r>
                      <a:endParaRPr lang="en-CA"/>
                    </a:p>
                  </a:txBody>
                  <a:tcPr anchor="ctr">
                    <a:solidFill>
                      <a:schemeClr val="tx2">
                        <a:lumMod val="40000"/>
                        <a:lumOff val="60000"/>
                      </a:schemeClr>
                    </a:solidFill>
                  </a:tcPr>
                </a:tc>
                <a:tc>
                  <a:txBody>
                    <a:bodyPr/>
                    <a:lstStyle/>
                    <a:p>
                      <a:pPr algn="ctr"/>
                      <a:r>
                        <a:rPr lang="fr-CA" b="1" spc="300">
                          <a:solidFill>
                            <a:srgbClr val="473561"/>
                          </a:solidFill>
                          <a:latin typeface="Montserrat Semi" charset="0"/>
                          <a:ea typeface="Montserrat Semi" charset="0"/>
                          <a:cs typeface="Montserrat Semi" charset="0"/>
                        </a:rPr>
                        <a:t>Open</a:t>
                      </a:r>
                      <a:endParaRPr lang="en-CA"/>
                    </a:p>
                  </a:txBody>
                  <a:tcPr anchor="ctr">
                    <a:solidFill>
                      <a:schemeClr val="tx2">
                        <a:lumMod val="40000"/>
                        <a:lumOff val="60000"/>
                      </a:schemeClr>
                    </a:solidFill>
                  </a:tcPr>
                </a:tc>
                <a:tc>
                  <a:txBody>
                    <a:bodyPr/>
                    <a:lstStyle/>
                    <a:p>
                      <a:pPr algn="ctr"/>
                      <a:r>
                        <a:rPr lang="fr-CA" b="1" spc="300" err="1">
                          <a:solidFill>
                            <a:srgbClr val="473561"/>
                          </a:solidFill>
                          <a:latin typeface="Montserrat Semi" charset="0"/>
                          <a:ea typeface="Montserrat Semi" charset="0"/>
                          <a:cs typeface="Montserrat Semi" charset="0"/>
                        </a:rPr>
                        <a:t>Supportive</a:t>
                      </a:r>
                      <a:endParaRPr lang="en-CA"/>
                    </a:p>
                  </a:txBody>
                  <a:tcPr anchor="ctr">
                    <a:solidFill>
                      <a:schemeClr val="tx2">
                        <a:lumMod val="40000"/>
                        <a:lumOff val="60000"/>
                      </a:schemeClr>
                    </a:solidFill>
                  </a:tcPr>
                </a:tc>
                <a:extLst>
                  <a:ext uri="{0D108BD9-81ED-4DB2-BD59-A6C34878D82A}">
                    <a16:rowId xmlns:a16="http://schemas.microsoft.com/office/drawing/2014/main" val="1659453450"/>
                  </a:ext>
                </a:extLst>
              </a:tr>
              <a:tr h="10622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spc="300" dirty="0" err="1">
                          <a:solidFill>
                            <a:srgbClr val="473561"/>
                          </a:solidFill>
                          <a:latin typeface="Montserrat Semi" charset="0"/>
                          <a:ea typeface="Montserrat Semi" charset="0"/>
                          <a:cs typeface="Montserrat Semi" charset="0"/>
                        </a:rPr>
                        <a:t>Curious</a:t>
                      </a:r>
                      <a:r>
                        <a:rPr lang="fr-CA" b="1" spc="300" dirty="0">
                          <a:solidFill>
                            <a:srgbClr val="473561"/>
                          </a:solidFill>
                          <a:latin typeface="Montserrat Semi" charset="0"/>
                          <a:ea typeface="Montserrat Semi" charset="0"/>
                          <a:cs typeface="Montserrat Semi"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fr-CA" b="1" spc="300" dirty="0">
                          <a:solidFill>
                            <a:srgbClr val="473561"/>
                          </a:solidFill>
                          <a:latin typeface="Montserrat Semi"/>
                          <a:ea typeface="Montserrat Semi" charset="0"/>
                          <a:cs typeface="Montserrat Semi" charset="0"/>
                        </a:rPr>
                        <a:t>not</a:t>
                      </a:r>
                      <a:r>
                        <a:rPr lang="fr-CA" b="1" spc="300" baseline="0" dirty="0">
                          <a:solidFill>
                            <a:srgbClr val="473561"/>
                          </a:solidFill>
                          <a:latin typeface="Montserrat Semi"/>
                          <a:ea typeface="Montserrat Semi" charset="0"/>
                          <a:cs typeface="Montserrat Semi" charset="0"/>
                        </a:rPr>
                        <a:t> </a:t>
                      </a:r>
                      <a:r>
                        <a:rPr lang="fr-CA" b="1" spc="300" baseline="0" dirty="0" err="1">
                          <a:solidFill>
                            <a:srgbClr val="473561"/>
                          </a:solidFill>
                          <a:latin typeface="Montserrat Semi"/>
                          <a:ea typeface="Montserrat Semi" charset="0"/>
                          <a:cs typeface="Montserrat Semi" charset="0"/>
                        </a:rPr>
                        <a:t>judgmental</a:t>
                      </a:r>
                      <a:endParaRPr lang="en-US" sz="1800" b="1" kern="1200" spc="300" noProof="0" dirty="0">
                        <a:solidFill>
                          <a:srgbClr val="473561"/>
                        </a:solidFill>
                        <a:latin typeface="Montserrat Semi"/>
                        <a:ea typeface="Montserrat Semi" charset="0"/>
                        <a:cs typeface="Montserrat Semi" charset="0"/>
                      </a:endParaRPr>
                    </a:p>
                  </a:txBody>
                  <a:tcPr anchor="ctr">
                    <a:solidFill>
                      <a:schemeClr val="tx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spc="300" noProof="0" err="1">
                          <a:solidFill>
                            <a:srgbClr val="473561"/>
                          </a:solidFill>
                          <a:latin typeface="Montserrat Semi" charset="0"/>
                          <a:ea typeface="Montserrat Semi" charset="0"/>
                          <a:cs typeface="Montserrat Semi" charset="0"/>
                        </a:rPr>
                        <a:t>Growth</a:t>
                      </a:r>
                      <a:r>
                        <a:rPr lang="fr-CA" b="1" spc="300" noProof="0">
                          <a:solidFill>
                            <a:srgbClr val="473561"/>
                          </a:solidFill>
                          <a:latin typeface="Montserrat Semi" charset="0"/>
                          <a:ea typeface="Montserrat Semi" charset="0"/>
                          <a:cs typeface="Montserrat Semi" charset="0"/>
                        </a:rPr>
                        <a:t> </a:t>
                      </a:r>
                      <a:r>
                        <a:rPr lang="fr-CA" b="1" spc="300" noProof="0" err="1">
                          <a:solidFill>
                            <a:srgbClr val="473561"/>
                          </a:solidFill>
                          <a:latin typeface="Montserrat Semi" charset="0"/>
                          <a:ea typeface="Montserrat Semi" charset="0"/>
                          <a:cs typeface="Montserrat Semi" charset="0"/>
                        </a:rPr>
                        <a:t>mindset</a:t>
                      </a:r>
                      <a:endParaRPr kumimoji="0" lang="en-US" b="1" i="0" u="none" strike="noStrike" kern="1200" cap="none" spc="300" normalizeH="0" baseline="0" noProof="0">
                        <a:ln>
                          <a:noFill/>
                        </a:ln>
                        <a:solidFill>
                          <a:srgbClr val="473561"/>
                        </a:solidFill>
                        <a:effectLst/>
                        <a:uLnTx/>
                        <a:uFillTx/>
                        <a:latin typeface="Montserrat Semi"/>
                        <a:ea typeface="Montserrat Semi" charset="0"/>
                        <a:cs typeface="Montserrat Semi" charset="0"/>
                      </a:endParaRPr>
                    </a:p>
                  </a:txBody>
                  <a:tcPr anchor="ctr">
                    <a:solidFill>
                      <a:schemeClr val="tx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spc="300" noProof="0" dirty="0" err="1">
                          <a:solidFill>
                            <a:srgbClr val="473561"/>
                          </a:solidFill>
                          <a:latin typeface="Montserrat Semi" charset="0"/>
                          <a:ea typeface="Montserrat Semi" charset="0"/>
                          <a:cs typeface="Montserrat Semi" charset="0"/>
                        </a:rPr>
                        <a:t>Generous</a:t>
                      </a:r>
                      <a:r>
                        <a:rPr lang="fr-CA" b="1" spc="300" noProof="0" dirty="0">
                          <a:solidFill>
                            <a:srgbClr val="473561"/>
                          </a:solidFill>
                          <a:latin typeface="Montserrat Semi" charset="0"/>
                          <a:ea typeface="Montserrat Semi" charset="0"/>
                          <a:cs typeface="Montserrat Semi" charset="0"/>
                        </a:rPr>
                        <a:t> </a:t>
                      </a:r>
                      <a:r>
                        <a:rPr lang="fr-CA" b="1" spc="300" noProof="0" dirty="0" err="1">
                          <a:solidFill>
                            <a:srgbClr val="473561"/>
                          </a:solidFill>
                          <a:latin typeface="Montserrat Semi" charset="0"/>
                          <a:ea typeface="Montserrat Semi" charset="0"/>
                          <a:cs typeface="Montserrat Semi" charset="0"/>
                        </a:rPr>
                        <a:t>listening</a:t>
                      </a:r>
                      <a:endParaRPr kumimoji="0" lang="en-US" b="1" i="0" u="none" strike="noStrike" kern="1200" cap="none" spc="300" normalizeH="0" baseline="0" noProof="0" dirty="0">
                        <a:ln>
                          <a:noFill/>
                        </a:ln>
                        <a:solidFill>
                          <a:srgbClr val="473561"/>
                        </a:solidFill>
                        <a:effectLst/>
                        <a:uLnTx/>
                        <a:uFillTx/>
                        <a:latin typeface="Montserrat Semi"/>
                        <a:ea typeface="Montserrat Semi" charset="0"/>
                        <a:cs typeface="Montserrat Semi" charset="0"/>
                      </a:endParaRPr>
                    </a:p>
                  </a:txBody>
                  <a:tcPr anchor="ctr">
                    <a:solidFill>
                      <a:schemeClr val="tx2">
                        <a:lumMod val="40000"/>
                        <a:lumOff val="60000"/>
                      </a:schemeClr>
                    </a:solidFill>
                  </a:tcPr>
                </a:tc>
                <a:extLst>
                  <a:ext uri="{0D108BD9-81ED-4DB2-BD59-A6C34878D82A}">
                    <a16:rowId xmlns:a16="http://schemas.microsoft.com/office/drawing/2014/main" val="2366310408"/>
                  </a:ext>
                </a:extLst>
              </a:tr>
            </a:tbl>
          </a:graphicData>
        </a:graphic>
      </p:graphicFrame>
    </p:spTree>
    <p:extLst>
      <p:ext uri="{BB962C8B-B14F-4D97-AF65-F5344CB8AC3E}">
        <p14:creationId xmlns:p14="http://schemas.microsoft.com/office/powerpoint/2010/main" val="2138355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0"/>
            <a:ext cx="12192000" cy="3461657"/>
          </a:xfrm>
          <a:prstGeom prst="rect">
            <a:avLst/>
          </a:prstGeom>
          <a:solidFill>
            <a:srgbClr val="4735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p:cNvSpPr txBox="1"/>
          <p:nvPr/>
        </p:nvSpPr>
        <p:spPr>
          <a:xfrm>
            <a:off x="1682068" y="6152907"/>
            <a:ext cx="871945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b="1" err="1">
                <a:solidFill>
                  <a:srgbClr val="473561"/>
                </a:solidFill>
                <a:latin typeface="Montserrat Semi" charset="0"/>
                <a:ea typeface="Montserrat Semi" charset="0"/>
                <a:cs typeface="Montserrat Semi" charset="0"/>
              </a:rPr>
              <a:t>Inspired</a:t>
            </a:r>
            <a:r>
              <a:rPr lang="fr-CA" sz="2000" b="1">
                <a:solidFill>
                  <a:srgbClr val="473561"/>
                </a:solidFill>
                <a:latin typeface="Montserrat Semi" charset="0"/>
                <a:ea typeface="Montserrat Semi" charset="0"/>
                <a:cs typeface="Montserrat Semi" charset="0"/>
              </a:rPr>
              <a:t> by the GROW model of coaching and </a:t>
            </a:r>
            <a:r>
              <a:rPr lang="fr-CA" sz="2000" b="1" err="1">
                <a:solidFill>
                  <a:srgbClr val="473561"/>
                </a:solidFill>
                <a:latin typeface="Montserrat Semi" charset="0"/>
                <a:ea typeface="Montserrat Semi" charset="0"/>
                <a:cs typeface="Montserrat Semi" charset="0"/>
              </a:rPr>
              <a:t>mentoring</a:t>
            </a:r>
            <a:endParaRPr lang="fr-CA" sz="2000" b="1" cap="small">
              <a:solidFill>
                <a:srgbClr val="473561"/>
              </a:solidFill>
              <a:latin typeface="Montserrat Semi" charset="0"/>
              <a:ea typeface="Montserrat Semi" charset="0"/>
              <a:cs typeface="Montserrat Semi" charset="0"/>
            </a:endParaRPr>
          </a:p>
        </p:txBody>
      </p:sp>
      <p:sp>
        <p:nvSpPr>
          <p:cNvPr id="12" name="TextBox 11"/>
          <p:cNvSpPr txBox="1"/>
          <p:nvPr/>
        </p:nvSpPr>
        <p:spPr>
          <a:xfrm>
            <a:off x="2834638" y="465680"/>
            <a:ext cx="6414320" cy="70801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4001" b="1">
                <a:solidFill>
                  <a:prstClr val="white"/>
                </a:solidFill>
                <a:latin typeface="Montserrat Semi" charset="0"/>
                <a:ea typeface="Montserrat Semi" charset="0"/>
                <a:cs typeface="Montserrat Semi" charset="0"/>
              </a:rPr>
              <a:t>GUIDED CONVERSATION</a:t>
            </a:r>
          </a:p>
        </p:txBody>
      </p:sp>
      <p:pic>
        <p:nvPicPr>
          <p:cNvPr id="6" name="Picture 5"/>
          <p:cNvPicPr>
            <a:picLocks noChangeAspect="1"/>
          </p:cNvPicPr>
          <p:nvPr/>
        </p:nvPicPr>
        <p:blipFill rotWithShape="1">
          <a:blip r:embed="rId3"/>
          <a:srcRect l="1581" t="1830" r="3051" b="2735"/>
          <a:stretch/>
        </p:blipFill>
        <p:spPr>
          <a:xfrm>
            <a:off x="2421905" y="1173694"/>
            <a:ext cx="7239785" cy="4835951"/>
          </a:xfrm>
          <a:prstGeom prst="rect">
            <a:avLst/>
          </a:prstGeom>
        </p:spPr>
      </p:pic>
    </p:spTree>
    <p:extLst>
      <p:ext uri="{BB962C8B-B14F-4D97-AF65-F5344CB8AC3E}">
        <p14:creationId xmlns:p14="http://schemas.microsoft.com/office/powerpoint/2010/main" val="21792265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0"/>
            <a:ext cx="4047934" cy="6858000"/>
          </a:xfrm>
          <a:prstGeom prst="rect">
            <a:avLst/>
          </a:prstGeom>
          <a:solidFill>
            <a:srgbClr val="4735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p:cNvSpPr txBox="1"/>
          <p:nvPr/>
        </p:nvSpPr>
        <p:spPr>
          <a:xfrm>
            <a:off x="222501" y="529361"/>
            <a:ext cx="3694406" cy="1323696"/>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CA" sz="4001" b="1">
                <a:solidFill>
                  <a:schemeClr val="accent5">
                    <a:lumMod val="75000"/>
                  </a:schemeClr>
                </a:solidFill>
                <a:latin typeface="Montserrat Semi" charset="0"/>
                <a:ea typeface="Montserrat Semi" charset="0"/>
                <a:cs typeface="Montserrat Semi" charset="0"/>
              </a:rPr>
              <a:t>Part 1</a:t>
            </a:r>
          </a:p>
          <a:p>
            <a:pPr marL="0" marR="0" lvl="0" indent="0" defTabSz="914400" rtl="0" eaLnBrk="1" fontAlgn="auto" latinLnBrk="0" hangingPunct="1">
              <a:lnSpc>
                <a:spcPct val="100000"/>
              </a:lnSpc>
              <a:spcBef>
                <a:spcPts val="0"/>
              </a:spcBef>
              <a:spcAft>
                <a:spcPts val="0"/>
              </a:spcAft>
              <a:buClrTx/>
              <a:buSzTx/>
              <a:buFontTx/>
              <a:buNone/>
              <a:tabLst/>
              <a:defRPr/>
            </a:pPr>
            <a:r>
              <a:rPr lang="fr-CA" sz="4001" b="1">
                <a:solidFill>
                  <a:schemeClr val="bg1"/>
                </a:solidFill>
                <a:latin typeface="Montserrat Semi" charset="0"/>
                <a:ea typeface="Montserrat Semi" charset="0"/>
                <a:cs typeface="Montserrat Semi" charset="0"/>
              </a:rPr>
              <a:t>GOALS</a:t>
            </a:r>
            <a:endParaRPr lang="fr-CA" sz="4001" b="1" noProof="0">
              <a:solidFill>
                <a:schemeClr val="bg1"/>
              </a:solidFill>
              <a:latin typeface="Montserrat Semi" charset="0"/>
              <a:ea typeface="Montserrat Semi" charset="0"/>
              <a:cs typeface="Montserrat Semi" charset="0"/>
            </a:endParaRPr>
          </a:p>
        </p:txBody>
      </p:sp>
      <p:sp>
        <p:nvSpPr>
          <p:cNvPr id="19" name="TextBox 18"/>
          <p:cNvSpPr txBox="1"/>
          <p:nvPr/>
        </p:nvSpPr>
        <p:spPr>
          <a:xfrm>
            <a:off x="4646279" y="1478970"/>
            <a:ext cx="7046259" cy="3416448"/>
          </a:xfrm>
          <a:prstGeom prst="rect">
            <a:avLst/>
          </a:prstGeom>
          <a:noFill/>
        </p:spPr>
        <p:txBody>
          <a:bodyPr wrap="square"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300" normalizeH="0" baseline="0" noProof="0" dirty="0">
                <a:ln>
                  <a:noFill/>
                </a:ln>
                <a:solidFill>
                  <a:srgbClr val="473561"/>
                </a:solidFill>
                <a:effectLst/>
                <a:uLnTx/>
                <a:uFillTx/>
                <a:latin typeface="Montserrat Semi"/>
                <a:ea typeface="Montserrat Semi" charset="0"/>
                <a:cs typeface="Montserrat Semi" charset="0"/>
              </a:rPr>
              <a:t>Better </a:t>
            </a:r>
            <a:r>
              <a:rPr lang="en-US" sz="2000" b="1" spc="300" dirty="0">
                <a:solidFill>
                  <a:srgbClr val="473561"/>
                </a:solidFill>
                <a:latin typeface="Montserrat Semi"/>
                <a:ea typeface="Montserrat Semi" charset="0"/>
                <a:cs typeface="Montserrat Semi" charset="0"/>
              </a:rPr>
              <a:t>understand how each employee </a:t>
            </a:r>
            <a:br>
              <a:rPr lang="en-US" sz="2000" b="1" spc="300" dirty="0">
                <a:solidFill>
                  <a:srgbClr val="473561"/>
                </a:solidFill>
                <a:latin typeface="Montserrat Semi"/>
                <a:ea typeface="Montserrat Semi" charset="0"/>
                <a:cs typeface="Montserrat Semi" charset="0"/>
              </a:rPr>
            </a:br>
            <a:r>
              <a:rPr lang="en-US" sz="2000" b="1" spc="300" dirty="0">
                <a:solidFill>
                  <a:srgbClr val="473561"/>
                </a:solidFill>
                <a:latin typeface="Montserrat Semi"/>
                <a:ea typeface="Montserrat Semi" charset="0"/>
                <a:cs typeface="Montserrat Semi" charset="0"/>
              </a:rPr>
              <a:t>is dealing with the current situation</a:t>
            </a:r>
          </a:p>
          <a:p>
            <a:pPr marL="0" marR="0" lvl="0" indent="0" defTabSz="914400" rtl="0" eaLnBrk="1" fontAlgn="auto" latinLnBrk="0" hangingPunct="1">
              <a:lnSpc>
                <a:spcPct val="100000"/>
              </a:lnSpc>
              <a:spcBef>
                <a:spcPts val="0"/>
              </a:spcBef>
              <a:spcAft>
                <a:spcPts val="0"/>
              </a:spcAft>
              <a:buClrTx/>
              <a:buSzTx/>
              <a:buFontTx/>
              <a:buNone/>
              <a:tabLst/>
              <a:defRPr/>
            </a:pPr>
            <a:endParaRPr lang="fr-CA" sz="2000" b="1" spc="300" dirty="0">
              <a:solidFill>
                <a:srgbClr val="473561"/>
              </a:solidFill>
              <a:latin typeface="Montserrat Semi"/>
              <a:ea typeface="Montserrat Semi" charset="0"/>
              <a:cs typeface="Montserrat Semi"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lang="fr-CA" sz="2000" b="1" spc="300" dirty="0">
              <a:solidFill>
                <a:srgbClr val="473561"/>
              </a:solidFill>
              <a:latin typeface="Montserrat Semi"/>
              <a:ea typeface="Montserrat Semi" charset="0"/>
              <a:cs typeface="Montserrat Semi"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lang="fr-CA" sz="2000" b="1" spc="300" dirty="0" err="1">
                <a:solidFill>
                  <a:srgbClr val="473561"/>
                </a:solidFill>
                <a:latin typeface="Montserrat Semi"/>
                <a:ea typeface="Montserrat Semi" charset="0"/>
                <a:cs typeface="Montserrat Semi" charset="0"/>
              </a:rPr>
              <a:t>Identify</a:t>
            </a:r>
            <a:r>
              <a:rPr lang="fr-CA" sz="2000" b="1" spc="300" dirty="0">
                <a:solidFill>
                  <a:srgbClr val="473561"/>
                </a:solidFill>
                <a:latin typeface="Montserrat Semi"/>
                <a:ea typeface="Montserrat Semi" charset="0"/>
                <a:cs typeface="Montserrat Semi" charset="0"/>
              </a:rPr>
              <a:t> </a:t>
            </a:r>
            <a:r>
              <a:rPr lang="fr-CA" sz="2000" b="1" spc="300" dirty="0" err="1">
                <a:solidFill>
                  <a:srgbClr val="473561"/>
                </a:solidFill>
                <a:latin typeface="Montserrat Semi"/>
                <a:ea typeface="Montserrat Semi" charset="0"/>
                <a:cs typeface="Montserrat Semi" charset="0"/>
              </a:rPr>
              <a:t>strategies</a:t>
            </a:r>
            <a:r>
              <a:rPr lang="fr-CA" sz="2000" b="1" spc="300" dirty="0">
                <a:solidFill>
                  <a:srgbClr val="473561"/>
                </a:solidFill>
                <a:latin typeface="Montserrat Semi"/>
                <a:ea typeface="Montserrat Semi" charset="0"/>
                <a:cs typeface="Montserrat Semi" charset="0"/>
              </a:rPr>
              <a:t> for </a:t>
            </a:r>
            <a:r>
              <a:rPr lang="fr-CA" sz="2000" b="1" spc="300" dirty="0" err="1">
                <a:solidFill>
                  <a:srgbClr val="473561"/>
                </a:solidFill>
                <a:latin typeface="Montserrat Semi"/>
                <a:ea typeface="Montserrat Semi" charset="0"/>
                <a:cs typeface="Montserrat Semi" charset="0"/>
              </a:rPr>
              <a:t>maintaining</a:t>
            </a:r>
            <a:r>
              <a:rPr lang="fr-CA" sz="2000" b="1" spc="300" dirty="0">
                <a:solidFill>
                  <a:srgbClr val="473561"/>
                </a:solidFill>
                <a:latin typeface="Montserrat Semi"/>
                <a:ea typeface="Montserrat Semi" charset="0"/>
                <a:cs typeface="Montserrat Semi" charset="0"/>
              </a:rPr>
              <a:t> a </a:t>
            </a:r>
            <a:r>
              <a:rPr lang="fr-CA" sz="2000" b="1" spc="300" dirty="0" err="1">
                <a:solidFill>
                  <a:srgbClr val="473561"/>
                </a:solidFill>
                <a:latin typeface="Montserrat Semi"/>
                <a:ea typeface="Montserrat Semi" charset="0"/>
                <a:cs typeface="Montserrat Semi" charset="0"/>
              </a:rPr>
              <a:t>critical</a:t>
            </a:r>
            <a:r>
              <a:rPr lang="fr-CA" sz="2000" b="1" spc="300" dirty="0">
                <a:solidFill>
                  <a:srgbClr val="473561"/>
                </a:solidFill>
                <a:latin typeface="Montserrat Semi"/>
                <a:ea typeface="Montserrat Semi" charset="0"/>
                <a:cs typeface="Montserrat Semi" charset="0"/>
              </a:rPr>
              <a:t> </a:t>
            </a:r>
            <a:r>
              <a:rPr lang="fr-CA" sz="2000" b="1" spc="300" dirty="0" err="1">
                <a:solidFill>
                  <a:srgbClr val="473561"/>
                </a:solidFill>
                <a:latin typeface="Montserrat Semi"/>
                <a:ea typeface="Montserrat Semi" charset="0"/>
                <a:cs typeface="Montserrat Semi" charset="0"/>
              </a:rPr>
              <a:t>work</a:t>
            </a:r>
            <a:r>
              <a:rPr lang="fr-CA" sz="2000" b="1" spc="300" dirty="0">
                <a:solidFill>
                  <a:srgbClr val="473561"/>
                </a:solidFill>
                <a:latin typeface="Montserrat Semi"/>
                <a:ea typeface="Montserrat Semi" charset="0"/>
                <a:cs typeface="Montserrat Semi" charset="0"/>
              </a:rPr>
              <a:t>-life balance at </a:t>
            </a:r>
            <a:r>
              <a:rPr lang="fr-CA" sz="2000" b="1" spc="300" dirty="0" err="1">
                <a:solidFill>
                  <a:srgbClr val="473561"/>
                </a:solidFill>
                <a:latin typeface="Montserrat Semi"/>
                <a:ea typeface="Montserrat Semi" charset="0"/>
                <a:cs typeface="Montserrat Semi" charset="0"/>
              </a:rPr>
              <a:t>this</a:t>
            </a:r>
            <a:r>
              <a:rPr lang="fr-CA" sz="2000" b="1" spc="300" dirty="0">
                <a:solidFill>
                  <a:srgbClr val="473561"/>
                </a:solidFill>
                <a:latin typeface="Montserrat Semi"/>
                <a:ea typeface="Montserrat Semi" charset="0"/>
                <a:cs typeface="Montserrat Semi" charset="0"/>
              </a:rPr>
              <a:t> time</a:t>
            </a:r>
          </a:p>
          <a:p>
            <a:pPr marL="0" marR="0" lvl="0" indent="0" defTabSz="914400" rtl="0" eaLnBrk="1" fontAlgn="auto" latinLnBrk="0" hangingPunct="1">
              <a:lnSpc>
                <a:spcPct val="100000"/>
              </a:lnSpc>
              <a:spcBef>
                <a:spcPts val="0"/>
              </a:spcBef>
              <a:spcAft>
                <a:spcPts val="0"/>
              </a:spcAft>
              <a:buClrTx/>
              <a:buSzTx/>
              <a:buFontTx/>
              <a:buNone/>
              <a:tabLst/>
              <a:defRPr/>
            </a:pPr>
            <a:endParaRPr lang="fr-CA" sz="2000" b="1" spc="300" dirty="0">
              <a:solidFill>
                <a:srgbClr val="473561"/>
              </a:solidFill>
              <a:latin typeface="Montserrat Semi"/>
              <a:ea typeface="Montserrat Semi" charset="0"/>
              <a:cs typeface="Montserrat Semi"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lang="fr-CA" sz="2000" b="1" spc="300" dirty="0">
              <a:solidFill>
                <a:srgbClr val="473561"/>
              </a:solidFill>
              <a:latin typeface="Montserrat Semi"/>
              <a:ea typeface="Montserrat Semi" charset="0"/>
              <a:cs typeface="Montserrat Semi" charset="0"/>
            </a:endParaRPr>
          </a:p>
          <a:p>
            <a:pPr>
              <a:defRPr/>
            </a:pPr>
            <a:r>
              <a:rPr lang="fr-CA" sz="2000" b="1" spc="300" dirty="0">
                <a:solidFill>
                  <a:srgbClr val="473561"/>
                </a:solidFill>
                <a:latin typeface="Montserrat Semi"/>
                <a:ea typeface="Montserrat Semi" charset="0"/>
                <a:cs typeface="Montserrat Semi" charset="0"/>
              </a:rPr>
              <a:t>Explore as a team how </a:t>
            </a:r>
            <a:r>
              <a:rPr lang="fr-CA" sz="2000" b="1" spc="300" dirty="0" err="1">
                <a:solidFill>
                  <a:srgbClr val="473561"/>
                </a:solidFill>
                <a:latin typeface="Montserrat Semi"/>
                <a:ea typeface="Montserrat Semi" charset="0"/>
                <a:cs typeface="Montserrat Semi" charset="0"/>
              </a:rPr>
              <a:t>we</a:t>
            </a:r>
            <a:r>
              <a:rPr lang="fr-CA" sz="2000" b="1" spc="300" dirty="0">
                <a:solidFill>
                  <a:srgbClr val="473561"/>
                </a:solidFill>
                <a:latin typeface="Montserrat Semi"/>
                <a:ea typeface="Montserrat Semi" charset="0"/>
                <a:cs typeface="Montserrat Semi" charset="0"/>
              </a:rPr>
              <a:t> </a:t>
            </a:r>
            <a:r>
              <a:rPr lang="fr-CA" sz="2000" b="1" spc="300" dirty="0" err="1">
                <a:solidFill>
                  <a:srgbClr val="473561"/>
                </a:solidFill>
                <a:latin typeface="Montserrat Semi"/>
                <a:ea typeface="Montserrat Semi" charset="0"/>
                <a:cs typeface="Montserrat Semi" charset="0"/>
              </a:rPr>
              <a:t>can</a:t>
            </a:r>
            <a:r>
              <a:rPr lang="fr-CA" sz="2000" b="1" spc="300" dirty="0">
                <a:solidFill>
                  <a:srgbClr val="473561"/>
                </a:solidFill>
                <a:latin typeface="Montserrat Semi"/>
                <a:ea typeface="Montserrat Semi" charset="0"/>
                <a:cs typeface="Montserrat Semi" charset="0"/>
              </a:rPr>
              <a:t> </a:t>
            </a:r>
            <a:r>
              <a:rPr lang="fr-CA" sz="2000" b="1" spc="300" dirty="0" err="1">
                <a:solidFill>
                  <a:srgbClr val="473561"/>
                </a:solidFill>
                <a:latin typeface="Montserrat Semi"/>
                <a:ea typeface="Montserrat Semi" charset="0"/>
                <a:cs typeface="Montserrat Semi" charset="0"/>
              </a:rPr>
              <a:t>transform</a:t>
            </a:r>
            <a:r>
              <a:rPr lang="fr-CA" sz="2000" b="1" spc="300" dirty="0">
                <a:solidFill>
                  <a:srgbClr val="473561"/>
                </a:solidFill>
                <a:latin typeface="Montserrat Semi"/>
                <a:ea typeface="Montserrat Semi" charset="0"/>
                <a:cs typeface="Montserrat Semi" charset="0"/>
              </a:rPr>
              <a:t> the </a:t>
            </a:r>
            <a:r>
              <a:rPr lang="fr-CA" sz="2000" b="1" spc="300" dirty="0" err="1">
                <a:solidFill>
                  <a:srgbClr val="473561"/>
                </a:solidFill>
                <a:latin typeface="Montserrat Semi"/>
                <a:ea typeface="Montserrat Semi" charset="0"/>
                <a:cs typeface="Montserrat Semi" charset="0"/>
              </a:rPr>
              <a:t>way</a:t>
            </a:r>
            <a:r>
              <a:rPr lang="fr-CA" sz="2000" b="1" spc="300" dirty="0">
                <a:solidFill>
                  <a:srgbClr val="473561"/>
                </a:solidFill>
                <a:latin typeface="Montserrat Semi"/>
                <a:ea typeface="Montserrat Semi" charset="0"/>
                <a:cs typeface="Montserrat Semi" charset="0"/>
              </a:rPr>
              <a:t> </a:t>
            </a:r>
            <a:r>
              <a:rPr lang="fr-CA" sz="2000" b="1" spc="300" dirty="0" err="1">
                <a:solidFill>
                  <a:srgbClr val="473561"/>
                </a:solidFill>
                <a:latin typeface="Montserrat Semi"/>
                <a:ea typeface="Montserrat Semi" charset="0"/>
                <a:cs typeface="Montserrat Semi" charset="0"/>
              </a:rPr>
              <a:t>we</a:t>
            </a:r>
            <a:r>
              <a:rPr lang="fr-CA" sz="2000" b="1" spc="300" dirty="0">
                <a:solidFill>
                  <a:srgbClr val="473561"/>
                </a:solidFill>
                <a:latin typeface="Montserrat Semi"/>
                <a:ea typeface="Montserrat Semi" charset="0"/>
                <a:cs typeface="Montserrat Semi" charset="0"/>
              </a:rPr>
              <a:t> </a:t>
            </a:r>
            <a:r>
              <a:rPr lang="fr-CA" sz="2000" b="1" spc="300" dirty="0" err="1">
                <a:solidFill>
                  <a:srgbClr val="473561"/>
                </a:solidFill>
                <a:latin typeface="Montserrat Semi"/>
                <a:ea typeface="Montserrat Semi" charset="0"/>
                <a:cs typeface="Montserrat Semi" charset="0"/>
              </a:rPr>
              <a:t>work</a:t>
            </a:r>
            <a:r>
              <a:rPr lang="fr-CA" sz="2000" b="1" spc="300" dirty="0">
                <a:solidFill>
                  <a:srgbClr val="473561"/>
                </a:solidFill>
                <a:latin typeface="Montserrat Semi"/>
                <a:ea typeface="Montserrat Semi" charset="0"/>
                <a:cs typeface="Montserrat Semi" charset="0"/>
              </a:rPr>
              <a:t> </a:t>
            </a:r>
            <a:r>
              <a:rPr lang="fr-CA" sz="2000" b="1" spc="300" dirty="0" err="1">
                <a:solidFill>
                  <a:srgbClr val="473561"/>
                </a:solidFill>
                <a:latin typeface="Montserrat Semi"/>
                <a:ea typeface="Montserrat Semi" charset="0"/>
                <a:cs typeface="Montserrat Semi" charset="0"/>
              </a:rPr>
              <a:t>during</a:t>
            </a:r>
            <a:r>
              <a:rPr lang="fr-CA" sz="2000" b="1" spc="300" dirty="0">
                <a:solidFill>
                  <a:srgbClr val="473561"/>
                </a:solidFill>
                <a:latin typeface="Montserrat Semi"/>
                <a:ea typeface="Montserrat Semi" charset="0"/>
                <a:cs typeface="Montserrat Semi" charset="0"/>
              </a:rPr>
              <a:t> </a:t>
            </a:r>
            <a:r>
              <a:rPr lang="fr-CA" sz="2000" b="1" spc="300" dirty="0" err="1">
                <a:solidFill>
                  <a:srgbClr val="473561"/>
                </a:solidFill>
                <a:latin typeface="Montserrat Semi"/>
                <a:ea typeface="Montserrat Semi" charset="0"/>
                <a:cs typeface="Montserrat Semi" charset="0"/>
              </a:rPr>
              <a:t>this</a:t>
            </a:r>
            <a:r>
              <a:rPr lang="fr-CA" sz="2000" b="1" spc="300" dirty="0">
                <a:solidFill>
                  <a:srgbClr val="473561"/>
                </a:solidFill>
                <a:latin typeface="Montserrat Semi"/>
                <a:ea typeface="Montserrat Semi" charset="0"/>
                <a:cs typeface="Montserrat Semi" charset="0"/>
              </a:rPr>
              <a:t> </a:t>
            </a:r>
            <a:r>
              <a:rPr lang="fr-CA" sz="2000" b="1" spc="300" dirty="0" err="1">
                <a:solidFill>
                  <a:srgbClr val="473561"/>
                </a:solidFill>
                <a:latin typeface="Montserrat Semi"/>
                <a:ea typeface="Montserrat Semi" charset="0"/>
                <a:cs typeface="Montserrat Semi" charset="0"/>
              </a:rPr>
              <a:t>period</a:t>
            </a:r>
            <a:endParaRPr lang="fr-CA" sz="2000" b="1" spc="300" dirty="0">
              <a:solidFill>
                <a:srgbClr val="473561"/>
              </a:solidFill>
              <a:latin typeface="Montserrat Semi"/>
              <a:ea typeface="Montserrat Semi" charset="0"/>
              <a:cs typeface="Montserrat Semi"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300" normalizeH="0" baseline="0" noProof="0" dirty="0">
              <a:ln>
                <a:noFill/>
              </a:ln>
              <a:solidFill>
                <a:srgbClr val="3494BA"/>
              </a:solidFill>
              <a:effectLst/>
              <a:uLnTx/>
              <a:uFillTx/>
              <a:latin typeface="Montserrat Semi" charset="0"/>
              <a:ea typeface="Montserrat Semi" charset="0"/>
              <a:cs typeface="Montserrat Semi" charset="0"/>
            </a:endParaRPr>
          </a:p>
        </p:txBody>
      </p:sp>
      <p:pic>
        <p:nvPicPr>
          <p:cNvPr id="7" name="Picture 6"/>
          <p:cNvPicPr>
            <a:picLocks noChangeAspect="1"/>
          </p:cNvPicPr>
          <p:nvPr/>
        </p:nvPicPr>
        <p:blipFill rotWithShape="1">
          <a:blip r:embed="rId3"/>
          <a:srcRect l="1294" t="5165" r="75167" b="11320"/>
          <a:stretch/>
        </p:blipFill>
        <p:spPr>
          <a:xfrm>
            <a:off x="270247" y="2382418"/>
            <a:ext cx="1730829" cy="4136571"/>
          </a:xfrm>
          <a:prstGeom prst="rect">
            <a:avLst/>
          </a:prstGeom>
        </p:spPr>
      </p:pic>
      <p:sp>
        <p:nvSpPr>
          <p:cNvPr id="10" name="TextBox 9"/>
          <p:cNvSpPr txBox="1"/>
          <p:nvPr/>
        </p:nvSpPr>
        <p:spPr>
          <a:xfrm>
            <a:off x="2073006" y="4527497"/>
            <a:ext cx="1697284" cy="1015663"/>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strike="noStrike" kern="1200" cap="none" spc="0" normalizeH="0" noProof="0" dirty="0">
                <a:ln>
                  <a:noFill/>
                </a:ln>
                <a:solidFill>
                  <a:schemeClr val="bg1">
                    <a:lumMod val="75000"/>
                  </a:schemeClr>
                </a:solidFill>
                <a:effectLst/>
                <a:uLnTx/>
                <a:uFillTx/>
                <a:latin typeface="Calibri Light" panose="020F0302020204030204"/>
                <a:ea typeface="Lato Light" charset="0"/>
                <a:cs typeface="Lato Light" charset="0"/>
              </a:rPr>
              <a:t>DURATION</a:t>
            </a:r>
          </a:p>
          <a:p>
            <a:pPr algn="ctr">
              <a:defRPr/>
            </a:pPr>
            <a:r>
              <a:rPr lang="fr-CA" sz="2000" b="1" dirty="0">
                <a:solidFill>
                  <a:schemeClr val="accent5"/>
                </a:solidFill>
                <a:latin typeface="Calibri Light" panose="020F0302020204030204"/>
                <a:ea typeface="Lato Light" charset="0"/>
                <a:cs typeface="Lato Light" charset="0"/>
              </a:rPr>
              <a:t>10</a:t>
            </a:r>
            <a:r>
              <a:rPr kumimoji="0" lang="fr-CA" sz="2000" b="1" i="0" u="none" strike="noStrike" kern="1200" cap="none" spc="0" normalizeH="0" noProof="0" dirty="0">
                <a:ln>
                  <a:noFill/>
                </a:ln>
                <a:solidFill>
                  <a:schemeClr val="accent5"/>
                </a:solidFill>
                <a:effectLst/>
                <a:uLnTx/>
                <a:uFillTx/>
                <a:latin typeface="Calibri Light" panose="020F0302020204030204"/>
                <a:ea typeface="Lato Light" charset="0"/>
                <a:cs typeface="Lato Light" charset="0"/>
              </a:rPr>
              <a:t>% </a:t>
            </a:r>
            <a:r>
              <a:rPr kumimoji="0" lang="fr-CA" sz="2000" b="1" i="0" u="none" strike="noStrike" kern="1200" cap="none" spc="0" normalizeH="0" noProof="0" dirty="0">
                <a:ln>
                  <a:noFill/>
                </a:ln>
                <a:solidFill>
                  <a:schemeClr val="bg1">
                    <a:lumMod val="75000"/>
                  </a:schemeClr>
                </a:solidFill>
                <a:effectLst/>
                <a:uLnTx/>
                <a:uFillTx/>
                <a:latin typeface="Calibri Light" panose="020F0302020204030204"/>
                <a:ea typeface="Lato Light" charset="0"/>
                <a:cs typeface="Lato Light" charset="0"/>
              </a:rPr>
              <a:t>of the </a:t>
            </a:r>
            <a:r>
              <a:rPr lang="fr-CA" sz="2000" b="1" dirty="0">
                <a:solidFill>
                  <a:schemeClr val="bg1">
                    <a:lumMod val="75000"/>
                  </a:schemeClr>
                </a:solidFill>
                <a:latin typeface="Calibri Light" panose="020F0302020204030204"/>
                <a:ea typeface="Lato Light" charset="0"/>
                <a:cs typeface="Lato Light" charset="0"/>
              </a:rPr>
              <a:t>session</a:t>
            </a:r>
            <a:endParaRPr lang="fr-CA" sz="2000" b="1" i="0" u="none" strike="noStrike" kern="1200" cap="none" spc="0" normalizeH="0" noProof="0" dirty="0">
              <a:ln>
                <a:noFill/>
              </a:ln>
              <a:solidFill>
                <a:schemeClr val="bg1">
                  <a:lumMod val="75000"/>
                </a:schemeClr>
              </a:solidFill>
              <a:effectLst/>
              <a:uLnTx/>
              <a:uFillTx/>
              <a:latin typeface="Calibri Light" panose="020F0302020204030204"/>
              <a:ea typeface="Lato Light" charset="0"/>
              <a:cs typeface="Lato Light" charset="0"/>
            </a:endParaRPr>
          </a:p>
        </p:txBody>
      </p:sp>
    </p:spTree>
    <p:extLst>
      <p:ext uri="{BB962C8B-B14F-4D97-AF65-F5344CB8AC3E}">
        <p14:creationId xmlns:p14="http://schemas.microsoft.com/office/powerpoint/2010/main" val="42824115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0"/>
            <a:ext cx="4047934" cy="6858000"/>
          </a:xfrm>
          <a:prstGeom prst="rect">
            <a:avLst/>
          </a:prstGeom>
          <a:solidFill>
            <a:srgbClr val="4735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p:cNvSpPr txBox="1"/>
          <p:nvPr/>
        </p:nvSpPr>
        <p:spPr>
          <a:xfrm>
            <a:off x="222501" y="529361"/>
            <a:ext cx="3694406" cy="1323696"/>
          </a:xfrm>
          <a:prstGeom prst="rect">
            <a:avLst/>
          </a:prstGeom>
          <a:noFill/>
        </p:spPr>
        <p:txBody>
          <a:bodyPr wrap="square" rtlCol="0">
            <a:spAutoFit/>
          </a:bodyPr>
          <a:lstStyle/>
          <a:p>
            <a:pPr lvl="0">
              <a:defRPr/>
            </a:pPr>
            <a:r>
              <a:rPr lang="fr-CA" sz="4001" b="1">
                <a:solidFill>
                  <a:schemeClr val="accent5">
                    <a:lumMod val="75000"/>
                  </a:schemeClr>
                </a:solidFill>
                <a:latin typeface="Montserrat Semi" charset="0"/>
                <a:ea typeface="Montserrat Semi" charset="0"/>
                <a:cs typeface="Montserrat Semi" charset="0"/>
              </a:rPr>
              <a:t>Part 2</a:t>
            </a:r>
          </a:p>
          <a:p>
            <a:pPr lvl="0">
              <a:defRPr/>
            </a:pPr>
            <a:r>
              <a:rPr lang="fr-CA" sz="4001" b="1">
                <a:solidFill>
                  <a:schemeClr val="bg1"/>
                </a:solidFill>
                <a:latin typeface="Montserrat Semi" charset="0"/>
                <a:ea typeface="Montserrat Semi" charset="0"/>
                <a:cs typeface="Montserrat Semi" charset="0"/>
              </a:rPr>
              <a:t>REALITY</a:t>
            </a:r>
          </a:p>
        </p:txBody>
      </p:sp>
      <p:sp>
        <p:nvSpPr>
          <p:cNvPr id="10" name="TextBox 9"/>
          <p:cNvSpPr txBox="1"/>
          <p:nvPr/>
        </p:nvSpPr>
        <p:spPr>
          <a:xfrm>
            <a:off x="5834638" y="1189281"/>
            <a:ext cx="4549885" cy="4832220"/>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200" normalizeH="0" baseline="0" noProof="0">
                <a:ln>
                  <a:noFill/>
                </a:ln>
                <a:solidFill>
                  <a:schemeClr val="accent5">
                    <a:lumMod val="75000"/>
                  </a:schemeClr>
                </a:solidFill>
                <a:effectLst/>
                <a:uLnTx/>
                <a:uFillTx/>
                <a:latin typeface="Montserrat Semi" charset="0"/>
                <a:ea typeface="Montserrat Semi" charset="0"/>
                <a:cs typeface="Montserrat Semi" charset="0"/>
              </a:rPr>
              <a:t>SCALE</a:t>
            </a:r>
            <a:r>
              <a:rPr kumimoji="0" lang="en-US" sz="2000" b="1" i="0" u="none" strike="noStrike" kern="1200" cap="none" spc="200" normalizeH="0" noProof="0">
                <a:ln>
                  <a:noFill/>
                </a:ln>
                <a:solidFill>
                  <a:schemeClr val="accent5">
                    <a:lumMod val="75000"/>
                  </a:schemeClr>
                </a:solidFill>
                <a:effectLst/>
                <a:uLnTx/>
                <a:uFillTx/>
                <a:latin typeface="Montserrat Semi" charset="0"/>
                <a:ea typeface="Montserrat Semi" charset="0"/>
                <a:cs typeface="Montserrat Semi" charset="0"/>
              </a:rPr>
              <a:t> OF</a:t>
            </a:r>
            <a:r>
              <a:rPr kumimoji="0" lang="en-US" sz="2000" b="1" i="0" u="none" strike="noStrike" kern="1200" cap="none" spc="200" normalizeH="0" baseline="0" noProof="0">
                <a:ln>
                  <a:noFill/>
                </a:ln>
                <a:solidFill>
                  <a:schemeClr val="accent5">
                    <a:lumMod val="75000"/>
                  </a:schemeClr>
                </a:solidFill>
                <a:effectLst/>
                <a:uLnTx/>
                <a:uFillTx/>
                <a:latin typeface="Montserrat Semi" charset="0"/>
                <a:ea typeface="Montserrat Semi" charset="0"/>
                <a:cs typeface="Montserrat Semi" charset="0"/>
              </a:rPr>
              <a:t> </a:t>
            </a:r>
            <a:r>
              <a:rPr lang="en-US" sz="2000" b="1" spc="200">
                <a:solidFill>
                  <a:schemeClr val="accent5">
                    <a:lumMod val="75000"/>
                  </a:schemeClr>
                </a:solidFill>
                <a:latin typeface="Montserrat Semi" charset="0"/>
                <a:ea typeface="Montserrat Semi" charset="0"/>
                <a:cs typeface="Montserrat Semi" charset="0"/>
              </a:rPr>
              <a:t>1 to </a:t>
            </a:r>
            <a:r>
              <a:rPr kumimoji="0" lang="en-US" sz="2000" b="1" i="0" u="none" strike="noStrike" kern="1200" cap="none" spc="200" normalizeH="0" baseline="0" noProof="0">
                <a:ln>
                  <a:noFill/>
                </a:ln>
                <a:solidFill>
                  <a:schemeClr val="accent5">
                    <a:lumMod val="75000"/>
                  </a:schemeClr>
                </a:solidFill>
                <a:effectLst/>
                <a:uLnTx/>
                <a:uFillTx/>
                <a:latin typeface="Montserrat Semi" charset="0"/>
                <a:ea typeface="Montserrat Semi" charset="0"/>
                <a:cs typeface="Montserrat Semi" charset="0"/>
              </a:rPr>
              <a:t>10</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spc="300">
              <a:solidFill>
                <a:srgbClr val="3494BA"/>
              </a:solidFill>
              <a:latin typeface="Montserrat Semi" charset="0"/>
              <a:ea typeface="Montserrat Semi" charset="0"/>
              <a:cs typeface="Montserrat Semi" charset="0"/>
            </a:endParaRPr>
          </a:p>
          <a:p>
            <a:pPr lvl="0" algn="ctr">
              <a:defRPr/>
            </a:pPr>
            <a:r>
              <a:rPr lang="fr-CA" sz="2000">
                <a:solidFill>
                  <a:schemeClr val="tx1">
                    <a:lumMod val="65000"/>
                    <a:lumOff val="35000"/>
                  </a:schemeClr>
                </a:solidFill>
                <a:ea typeface="Lato Light" charset="0"/>
                <a:cs typeface="Lato Light" charset="0"/>
              </a:rPr>
              <a:t>On a scale of 1 to 10 </a:t>
            </a:r>
          </a:p>
          <a:p>
            <a:pPr lvl="0" algn="ctr">
              <a:defRPr/>
            </a:pPr>
            <a:r>
              <a:rPr lang="fr-CA" sz="2000">
                <a:solidFill>
                  <a:schemeClr val="tx1">
                    <a:lumMod val="65000"/>
                    <a:lumOff val="35000"/>
                  </a:schemeClr>
                </a:solidFill>
                <a:ea typeface="Lato Light" charset="0"/>
                <a:cs typeface="Lato Light" charset="0"/>
              </a:rPr>
              <a:t>(10 being optimistic, 1 being pessimistic), </a:t>
            </a:r>
          </a:p>
          <a:p>
            <a:pPr lvl="0" algn="ctr">
              <a:defRPr/>
            </a:pPr>
            <a:r>
              <a:rPr lang="fr-CA" sz="2000">
                <a:solidFill>
                  <a:schemeClr val="tx1">
                    <a:lumMod val="65000"/>
                    <a:lumOff val="35000"/>
                  </a:schemeClr>
                </a:solidFill>
                <a:ea typeface="Lato Light" charset="0"/>
                <a:cs typeface="Lato Light" charset="0"/>
              </a:rPr>
              <a:t>how are you feeling in the current situation?</a:t>
            </a:r>
          </a:p>
          <a:p>
            <a:pPr lvl="0" algn="ctr">
              <a:defRPr/>
            </a:pPr>
            <a:endParaRPr lang="fr-CA" sz="2000">
              <a:solidFill>
                <a:prstClr val="white">
                  <a:lumMod val="50000"/>
                </a:prstClr>
              </a:solidFill>
              <a:latin typeface="Calibri Light" panose="020F0302020204030204"/>
              <a:ea typeface="Lato Light" charset="0"/>
              <a:cs typeface="Lato Light" charset="0"/>
            </a:endParaRPr>
          </a:p>
          <a:p>
            <a:pPr algn="ctr">
              <a:defRPr/>
            </a:pPr>
            <a:endParaRPr lang="fr-CA" sz="2000" b="1" spc="300">
              <a:solidFill>
                <a:srgbClr val="3494BA"/>
              </a:solidFill>
              <a:latin typeface="Montserrat Semi" charset="0"/>
              <a:ea typeface="Montserrat Semi" charset="0"/>
              <a:cs typeface="Montserrat Semi" charset="0"/>
            </a:endParaRPr>
          </a:p>
          <a:p>
            <a:pPr algn="ctr">
              <a:defRPr/>
            </a:pPr>
            <a:endParaRPr lang="en-US" sz="2000">
              <a:solidFill>
                <a:prstClr val="white">
                  <a:lumMod val="50000"/>
                </a:prstClr>
              </a:solidFill>
              <a:latin typeface="Calibri Light" panose="020F0302020204030204"/>
              <a:ea typeface="Lato Light" charset="0"/>
              <a:cs typeface="Lato Light" charset="0"/>
            </a:endParaRPr>
          </a:p>
          <a:p>
            <a:pPr lvl="0" algn="ctr">
              <a:defRPr/>
            </a:pPr>
            <a:endParaRPr lang="en-US" sz="2000">
              <a:solidFill>
                <a:prstClr val="white">
                  <a:lumMod val="50000"/>
                </a:prstClr>
              </a:solidFill>
              <a:latin typeface="Calibri Light" panose="020F0302020204030204"/>
              <a:ea typeface="Lato Light" charset="0"/>
              <a:cs typeface="Lato Light" charset="0"/>
            </a:endParaRPr>
          </a:p>
          <a:p>
            <a:pPr algn="ctr">
              <a:defRPr/>
            </a:pPr>
            <a:r>
              <a:rPr lang="fr-CA" sz="2000" b="1" spc="300">
                <a:solidFill>
                  <a:schemeClr val="accent5">
                    <a:lumMod val="75000"/>
                  </a:schemeClr>
                </a:solidFill>
                <a:latin typeface="Montserrat Semi" charset="0"/>
                <a:ea typeface="Montserrat Semi" charset="0"/>
                <a:cs typeface="Montserrat Semi" charset="0"/>
              </a:rPr>
              <a:t>BIGGEST CHALLENGE</a:t>
            </a:r>
            <a:endParaRPr lang="en-US" sz="2000" b="1" spc="300">
              <a:solidFill>
                <a:schemeClr val="accent5">
                  <a:lumMod val="75000"/>
                </a:schemeClr>
              </a:solidFill>
              <a:latin typeface="Montserrat Semi" charset="0"/>
              <a:ea typeface="Montserrat Semi" charset="0"/>
              <a:cs typeface="Montserrat Semi" charset="0"/>
            </a:endParaRPr>
          </a:p>
          <a:p>
            <a:pPr lvl="0" algn="ctr">
              <a:defRPr/>
            </a:pPr>
            <a:endParaRPr lang="en-US" sz="2000">
              <a:solidFill>
                <a:prstClr val="white">
                  <a:lumMod val="50000"/>
                </a:prstClr>
              </a:solidFill>
              <a:latin typeface="Calibri Light" panose="020F0302020204030204"/>
              <a:ea typeface="Lato Light" charset="0"/>
              <a:cs typeface="Lato Light" charset="0"/>
            </a:endParaRPr>
          </a:p>
          <a:p>
            <a:pPr lvl="0" algn="ctr">
              <a:defRPr/>
            </a:pPr>
            <a:r>
              <a:rPr lang="fr-CA" sz="2000">
                <a:solidFill>
                  <a:schemeClr val="tx1">
                    <a:lumMod val="65000"/>
                    <a:lumOff val="35000"/>
                  </a:schemeClr>
                </a:solidFill>
                <a:ea typeface="Lato Light" charset="0"/>
                <a:cs typeface="Lato Light" charset="0"/>
              </a:rPr>
              <a:t>What is your biggest challenge?</a:t>
            </a:r>
            <a:endParaRPr lang="en-US" sz="2000">
              <a:solidFill>
                <a:schemeClr val="tx1">
                  <a:lumMod val="65000"/>
                  <a:lumOff val="35000"/>
                </a:schemeClr>
              </a:solidFill>
              <a:ea typeface="Lato Light" charset="0"/>
              <a:cs typeface="Lato Light" charset="0"/>
            </a:endParaRPr>
          </a:p>
          <a:p>
            <a:pPr lvl="0" algn="ctr">
              <a:defRPr/>
            </a:pPr>
            <a:endParaRPr lang="en-US" sz="1600">
              <a:solidFill>
                <a:prstClr val="white">
                  <a:lumMod val="50000"/>
                </a:prstClr>
              </a:solidFill>
              <a:latin typeface="Calibri Light" panose="020F0302020204030204"/>
              <a:ea typeface="Lato Light" charset="0"/>
              <a:cs typeface="Lato Light" charset="0"/>
            </a:endParaRPr>
          </a:p>
          <a:p>
            <a:pPr lvl="0" algn="ctr">
              <a:defRPr/>
            </a:pPr>
            <a:endParaRPr lang="en-US" sz="1600">
              <a:solidFill>
                <a:prstClr val="white">
                  <a:lumMod val="50000"/>
                </a:prstClr>
              </a:solidFill>
              <a:latin typeface="Calibri Light" panose="020F0302020204030204"/>
              <a:ea typeface="Lato Light" charset="0"/>
              <a:cs typeface="Lato Light"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300" normalizeH="0" baseline="0" noProof="0">
              <a:ln>
                <a:noFill/>
              </a:ln>
              <a:solidFill>
                <a:srgbClr val="3494BA"/>
              </a:solidFill>
              <a:effectLst/>
              <a:uLnTx/>
              <a:uFillTx/>
              <a:latin typeface="Montserrat Semi" charset="0"/>
              <a:ea typeface="Montserrat Semi" charset="0"/>
              <a:cs typeface="Montserrat Semi" charset="0"/>
            </a:endParaRPr>
          </a:p>
        </p:txBody>
      </p:sp>
      <p:pic>
        <p:nvPicPr>
          <p:cNvPr id="8" name="Picture 7"/>
          <p:cNvPicPr>
            <a:picLocks noChangeAspect="1"/>
          </p:cNvPicPr>
          <p:nvPr/>
        </p:nvPicPr>
        <p:blipFill rotWithShape="1">
          <a:blip r:embed="rId3"/>
          <a:srcRect l="25722" t="5165" r="51037" b="11320"/>
          <a:stretch/>
        </p:blipFill>
        <p:spPr>
          <a:xfrm>
            <a:off x="286302" y="2382417"/>
            <a:ext cx="1709057" cy="4136571"/>
          </a:xfrm>
          <a:prstGeom prst="rect">
            <a:avLst/>
          </a:prstGeom>
        </p:spPr>
      </p:pic>
      <p:sp>
        <p:nvSpPr>
          <p:cNvPr id="2" name="TextBox 1">
            <a:extLst>
              <a:ext uri="{FF2B5EF4-FFF2-40B4-BE49-F238E27FC236}">
                <a16:creationId xmlns:a16="http://schemas.microsoft.com/office/drawing/2014/main" id="{C91A7D44-732D-4DD1-9DE0-DA2E71CA3D87}"/>
              </a:ext>
            </a:extLst>
          </p:cNvPr>
          <p:cNvSpPr txBox="1"/>
          <p:nvPr/>
        </p:nvSpPr>
        <p:spPr>
          <a:xfrm>
            <a:off x="2073006" y="4527497"/>
            <a:ext cx="1697284" cy="1015663"/>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strike="noStrike" kern="1200" cap="none" spc="0" normalizeH="0" noProof="0" dirty="0">
                <a:ln>
                  <a:noFill/>
                </a:ln>
                <a:solidFill>
                  <a:schemeClr val="bg1">
                    <a:lumMod val="75000"/>
                  </a:schemeClr>
                </a:solidFill>
                <a:effectLst/>
                <a:uLnTx/>
                <a:uFillTx/>
                <a:latin typeface="Calibri Light" panose="020F0302020204030204"/>
                <a:ea typeface="Lato Light" charset="0"/>
                <a:cs typeface="Lato Light" charset="0"/>
              </a:rPr>
              <a:t>DURATION</a:t>
            </a:r>
          </a:p>
          <a:p>
            <a:pPr algn="ctr">
              <a:defRPr/>
            </a:pPr>
            <a:r>
              <a:rPr lang="fr-CA" sz="2000" b="1" dirty="0">
                <a:solidFill>
                  <a:schemeClr val="accent5"/>
                </a:solidFill>
                <a:latin typeface="Calibri Light" panose="020F0302020204030204"/>
                <a:ea typeface="Lato Light" charset="0"/>
                <a:cs typeface="Lato Light" charset="0"/>
              </a:rPr>
              <a:t>15</a:t>
            </a:r>
            <a:r>
              <a:rPr kumimoji="0" lang="fr-CA" sz="2000" b="1" i="0" u="none" strike="noStrike" kern="1200" cap="none" spc="0" normalizeH="0" noProof="0" dirty="0">
                <a:ln>
                  <a:noFill/>
                </a:ln>
                <a:solidFill>
                  <a:schemeClr val="accent5"/>
                </a:solidFill>
                <a:effectLst/>
                <a:uLnTx/>
                <a:uFillTx/>
                <a:latin typeface="Calibri Light" panose="020F0302020204030204"/>
                <a:ea typeface="Lato Light" charset="0"/>
                <a:cs typeface="Lato Light" charset="0"/>
              </a:rPr>
              <a:t>% </a:t>
            </a:r>
            <a:r>
              <a:rPr kumimoji="0" lang="fr-CA" sz="2000" b="1" i="0" u="none" strike="noStrike" kern="1200" cap="none" spc="0" normalizeH="0" noProof="0" dirty="0">
                <a:ln>
                  <a:noFill/>
                </a:ln>
                <a:solidFill>
                  <a:schemeClr val="bg1">
                    <a:lumMod val="75000"/>
                  </a:schemeClr>
                </a:solidFill>
                <a:effectLst/>
                <a:uLnTx/>
                <a:uFillTx/>
                <a:latin typeface="Calibri Light" panose="020F0302020204030204"/>
                <a:ea typeface="Lato Light" charset="0"/>
                <a:cs typeface="Lato Light" charset="0"/>
              </a:rPr>
              <a:t>of the </a:t>
            </a:r>
            <a:r>
              <a:rPr lang="fr-CA" sz="2000" b="1" dirty="0">
                <a:solidFill>
                  <a:schemeClr val="bg1">
                    <a:lumMod val="75000"/>
                  </a:schemeClr>
                </a:solidFill>
                <a:latin typeface="Calibri Light" panose="020F0302020204030204"/>
                <a:ea typeface="Lato Light" charset="0"/>
                <a:cs typeface="Lato Light" charset="0"/>
              </a:rPr>
              <a:t>session</a:t>
            </a:r>
            <a:endParaRPr lang="fr-CA" sz="2000" b="1" i="0" u="none" strike="noStrike" kern="1200" cap="none" spc="0" normalizeH="0" noProof="0" dirty="0">
              <a:ln>
                <a:noFill/>
              </a:ln>
              <a:solidFill>
                <a:schemeClr val="bg1">
                  <a:lumMod val="75000"/>
                </a:schemeClr>
              </a:solidFill>
              <a:effectLst/>
              <a:uLnTx/>
              <a:uFillTx/>
              <a:latin typeface="Calibri Light" panose="020F0302020204030204"/>
              <a:ea typeface="Lato Light" charset="0"/>
              <a:cs typeface="Lato Light" charset="0"/>
            </a:endParaRPr>
          </a:p>
        </p:txBody>
      </p:sp>
    </p:spTree>
    <p:extLst>
      <p:ext uri="{BB962C8B-B14F-4D97-AF65-F5344CB8AC3E}">
        <p14:creationId xmlns:p14="http://schemas.microsoft.com/office/powerpoint/2010/main" val="1015284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0"/>
            <a:ext cx="4047934" cy="6858000"/>
          </a:xfrm>
          <a:prstGeom prst="rect">
            <a:avLst/>
          </a:prstGeom>
          <a:solidFill>
            <a:srgbClr val="4735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p:cNvSpPr txBox="1"/>
          <p:nvPr/>
        </p:nvSpPr>
        <p:spPr>
          <a:xfrm>
            <a:off x="222501" y="529361"/>
            <a:ext cx="3694406" cy="1693028"/>
          </a:xfrm>
          <a:prstGeom prst="rect">
            <a:avLst/>
          </a:prstGeom>
          <a:noFill/>
        </p:spPr>
        <p:txBody>
          <a:bodyPr wrap="square" rtlCol="0">
            <a:spAutoFit/>
          </a:bodyPr>
          <a:lstStyle/>
          <a:p>
            <a:pPr lvl="0">
              <a:defRPr/>
            </a:pPr>
            <a:r>
              <a:rPr lang="fr-CA" sz="4001" b="1">
                <a:solidFill>
                  <a:schemeClr val="accent5">
                    <a:lumMod val="75000"/>
                  </a:schemeClr>
                </a:solidFill>
                <a:latin typeface="Montserrat Semi" charset="0"/>
                <a:ea typeface="Montserrat Semi" charset="0"/>
                <a:cs typeface="Montserrat Semi" charset="0"/>
              </a:rPr>
              <a:t>Part 3</a:t>
            </a:r>
          </a:p>
          <a:p>
            <a:pPr lvl="0">
              <a:defRPr/>
            </a:pPr>
            <a:r>
              <a:rPr lang="fr-CA" sz="4001" b="1">
                <a:solidFill>
                  <a:schemeClr val="bg1"/>
                </a:solidFill>
                <a:latin typeface="Montserrat Semi" charset="0"/>
                <a:ea typeface="Montserrat Semi" charset="0"/>
                <a:cs typeface="Montserrat Semi" charset="0"/>
              </a:rPr>
              <a:t>OPTIONS</a:t>
            </a:r>
          </a:p>
          <a:p>
            <a:pPr lvl="0">
              <a:defRPr/>
            </a:pPr>
            <a:r>
              <a:rPr lang="en-US" sz="2400">
                <a:solidFill>
                  <a:prstClr val="white"/>
                </a:solidFill>
              </a:rPr>
              <a:t>Choose 4 to 6 questions</a:t>
            </a:r>
            <a:endParaRPr lang="fr-CA" sz="2400" b="1">
              <a:solidFill>
                <a:schemeClr val="bg1"/>
              </a:solidFill>
              <a:latin typeface="Montserrat Semi" charset="0"/>
              <a:ea typeface="Montserrat Semi" charset="0"/>
              <a:cs typeface="Montserrat Semi" charset="0"/>
            </a:endParaRPr>
          </a:p>
        </p:txBody>
      </p:sp>
      <p:sp>
        <p:nvSpPr>
          <p:cNvPr id="13" name="TextBox 12"/>
          <p:cNvSpPr txBox="1"/>
          <p:nvPr/>
        </p:nvSpPr>
        <p:spPr>
          <a:xfrm>
            <a:off x="4387915" y="400709"/>
            <a:ext cx="3704860" cy="61250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b="1" spc="300" dirty="0">
                <a:solidFill>
                  <a:schemeClr val="accent5">
                    <a:lumMod val="75000"/>
                  </a:schemeClr>
                </a:solidFill>
                <a:latin typeface="Montserrat Semi" charset="0"/>
                <a:ea typeface="Montserrat Semi" charset="0"/>
                <a:cs typeface="Montserrat Semi" charset="0"/>
              </a:rPr>
              <a:t>RESILIENC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CA" sz="2000" b="1" spc="300" dirty="0">
              <a:solidFill>
                <a:srgbClr val="00B0F0"/>
              </a:solidFill>
              <a:ea typeface="Montserrat Semi" charset="0"/>
              <a:cs typeface="Montserrat Semi" charset="0"/>
            </a:endParaRPr>
          </a:p>
          <a:p>
            <a:pPr lvl="0" algn="ctr">
              <a:defRPr/>
            </a:pPr>
            <a:r>
              <a:rPr lang="fr-CA" sz="2000" dirty="0">
                <a:solidFill>
                  <a:schemeClr val="tx1">
                    <a:lumMod val="65000"/>
                    <a:lumOff val="35000"/>
                  </a:schemeClr>
                </a:solidFill>
                <a:ea typeface="Lato Light" charset="0"/>
                <a:cs typeface="Lato Light" charset="0"/>
              </a:rPr>
              <a:t>How do </a:t>
            </a:r>
            <a:r>
              <a:rPr lang="fr-CA" sz="2000" dirty="0" err="1">
                <a:solidFill>
                  <a:schemeClr val="tx1">
                    <a:lumMod val="65000"/>
                    <a:lumOff val="35000"/>
                  </a:schemeClr>
                </a:solidFill>
                <a:ea typeface="Lato Light" charset="0"/>
                <a:cs typeface="Lato Light" charset="0"/>
              </a:rPr>
              <a:t>you</a:t>
            </a:r>
            <a:r>
              <a:rPr lang="fr-CA" sz="2000" dirty="0">
                <a:solidFill>
                  <a:schemeClr val="tx1">
                    <a:lumMod val="65000"/>
                    <a:lumOff val="35000"/>
                  </a:schemeClr>
                </a:solidFill>
                <a:ea typeface="Lato Light" charset="0"/>
                <a:cs typeface="Lato Light" charset="0"/>
              </a:rPr>
              <a:t> recharge?</a:t>
            </a:r>
          </a:p>
          <a:p>
            <a:pPr lvl="0" algn="ctr">
              <a:defRPr/>
            </a:pPr>
            <a:r>
              <a:rPr lang="fr-CA" sz="2000" dirty="0" err="1">
                <a:solidFill>
                  <a:schemeClr val="tx1">
                    <a:lumMod val="65000"/>
                    <a:lumOff val="35000"/>
                  </a:schemeClr>
                </a:solidFill>
                <a:ea typeface="Lato Light" charset="0"/>
                <a:cs typeface="Lato Light" charset="0"/>
              </a:rPr>
              <a:t>What</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should</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you</a:t>
            </a:r>
            <a:r>
              <a:rPr lang="fr-CA" sz="2000" dirty="0">
                <a:solidFill>
                  <a:schemeClr val="tx1">
                    <a:lumMod val="65000"/>
                    <a:lumOff val="35000"/>
                  </a:schemeClr>
                </a:solidFill>
                <a:ea typeface="Lato Light" charset="0"/>
                <a:cs typeface="Lato Light" charset="0"/>
              </a:rPr>
              <a:t> do </a:t>
            </a:r>
            <a:br>
              <a:rPr lang="fr-CA" sz="2000" dirty="0">
                <a:solidFill>
                  <a:schemeClr val="tx1">
                    <a:lumMod val="65000"/>
                    <a:lumOff val="35000"/>
                  </a:schemeClr>
                </a:solidFill>
                <a:ea typeface="Lato Light" charset="0"/>
                <a:cs typeface="Lato Light" charset="0"/>
              </a:rPr>
            </a:br>
            <a:r>
              <a:rPr lang="fr-CA" sz="2000" dirty="0">
                <a:solidFill>
                  <a:schemeClr val="tx1">
                    <a:lumMod val="65000"/>
                    <a:lumOff val="35000"/>
                  </a:schemeClr>
                </a:solidFill>
                <a:ea typeface="Lato Light" charset="0"/>
                <a:cs typeface="Lato Light" charset="0"/>
              </a:rPr>
              <a:t>more (or </a:t>
            </a:r>
            <a:r>
              <a:rPr lang="fr-CA" sz="2000" dirty="0" err="1">
                <a:solidFill>
                  <a:schemeClr val="tx1">
                    <a:lumMod val="65000"/>
                    <a:lumOff val="35000"/>
                  </a:schemeClr>
                </a:solidFill>
                <a:ea typeface="Lato Light" charset="0"/>
                <a:cs typeface="Lato Light" charset="0"/>
              </a:rPr>
              <a:t>less</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often</a:t>
            </a:r>
            <a:r>
              <a:rPr lang="fr-CA" sz="2000" dirty="0">
                <a:solidFill>
                  <a:schemeClr val="tx1">
                    <a:lumMod val="65000"/>
                    <a:lumOff val="35000"/>
                  </a:schemeClr>
                </a:solidFill>
                <a:ea typeface="Lato Light" charset="0"/>
                <a:cs typeface="Lato Light" charset="0"/>
              </a:rPr>
              <a:t>?</a:t>
            </a:r>
            <a:endParaRPr lang="en-US" sz="2000" dirty="0">
              <a:solidFill>
                <a:schemeClr val="tx1">
                  <a:lumMod val="65000"/>
                  <a:lumOff val="35000"/>
                </a:schemeClr>
              </a:solidFill>
              <a:ea typeface="Lato Light" charset="0"/>
              <a:cs typeface="Lato Light"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000" b="1" i="0" u="none" strike="noStrike" kern="1200" cap="none" spc="300" normalizeH="0" baseline="0" noProof="0" dirty="0">
              <a:ln>
                <a:noFill/>
              </a:ln>
              <a:solidFill>
                <a:srgbClr val="00B0F0"/>
              </a:solidFill>
              <a:effectLst/>
              <a:uLnTx/>
              <a:uFillTx/>
              <a:latin typeface="Montserrat Semi" charset="0"/>
              <a:ea typeface="Montserrat Semi" charset="0"/>
              <a:cs typeface="Montserrat Semi"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000" b="1" i="0" u="none" strike="noStrike" kern="1200" cap="none" spc="300" normalizeH="0" baseline="0" noProof="0" dirty="0">
              <a:ln>
                <a:noFill/>
              </a:ln>
              <a:solidFill>
                <a:srgbClr val="00B0F0"/>
              </a:solidFill>
              <a:effectLst/>
              <a:uLnTx/>
              <a:uFillTx/>
              <a:latin typeface="Montserrat Semi" charset="0"/>
              <a:ea typeface="Montserrat Semi" charset="0"/>
              <a:cs typeface="Montserrat Semi" charset="0"/>
            </a:endParaRPr>
          </a:p>
          <a:p>
            <a:pPr algn="ctr">
              <a:defRPr/>
            </a:pPr>
            <a:r>
              <a:rPr lang="fr-CA" sz="2000" b="1" spc="300" dirty="0">
                <a:solidFill>
                  <a:schemeClr val="accent5">
                    <a:lumMod val="75000"/>
                  </a:schemeClr>
                </a:solidFill>
                <a:latin typeface="Montserrat Semi" charset="0"/>
                <a:ea typeface="Montserrat Semi" charset="0"/>
                <a:cs typeface="Montserrat Semi" charset="0"/>
              </a:rPr>
              <a:t>FOCUS ON STRENGTHS</a:t>
            </a:r>
          </a:p>
          <a:p>
            <a:pPr algn="ctr">
              <a:defRPr/>
            </a:pPr>
            <a:endParaRPr lang="en-US" sz="2000" b="1" spc="300" dirty="0">
              <a:solidFill>
                <a:srgbClr val="00B0F0"/>
              </a:solidFill>
              <a:latin typeface="Montserrat Semi" charset="0"/>
              <a:ea typeface="Montserrat Semi" charset="0"/>
              <a:cs typeface="Montserrat Semi" charset="0"/>
            </a:endParaRPr>
          </a:p>
          <a:p>
            <a:pPr lvl="0" algn="ctr">
              <a:defRPr/>
            </a:pPr>
            <a:r>
              <a:rPr lang="fr-CA" sz="2000" dirty="0" err="1">
                <a:solidFill>
                  <a:schemeClr val="tx1">
                    <a:lumMod val="65000"/>
                    <a:lumOff val="35000"/>
                  </a:schemeClr>
                </a:solidFill>
                <a:ea typeface="Lato Light" charset="0"/>
                <a:cs typeface="Lato Light" charset="0"/>
              </a:rPr>
              <a:t>What</a:t>
            </a:r>
            <a:r>
              <a:rPr lang="fr-CA" sz="2000" dirty="0">
                <a:solidFill>
                  <a:schemeClr val="tx1">
                    <a:lumMod val="65000"/>
                    <a:lumOff val="35000"/>
                  </a:schemeClr>
                </a:solidFill>
                <a:ea typeface="Lato Light" charset="0"/>
                <a:cs typeface="Lato Light" charset="0"/>
              </a:rPr>
              <a:t> are </a:t>
            </a:r>
            <a:r>
              <a:rPr lang="fr-CA" sz="2000" dirty="0" err="1">
                <a:solidFill>
                  <a:schemeClr val="tx1">
                    <a:lumMod val="65000"/>
                    <a:lumOff val="35000"/>
                  </a:schemeClr>
                </a:solidFill>
                <a:ea typeface="Lato Light" charset="0"/>
                <a:cs typeface="Lato Light" charset="0"/>
              </a:rPr>
              <a:t>your</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greatest</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strengths</a:t>
            </a:r>
            <a:endParaRPr lang="fr-CA" sz="2000" dirty="0">
              <a:solidFill>
                <a:schemeClr val="tx1">
                  <a:lumMod val="65000"/>
                  <a:lumOff val="35000"/>
                </a:schemeClr>
              </a:solidFill>
              <a:ea typeface="Lato Light" charset="0"/>
              <a:cs typeface="Lato Light" charset="0"/>
            </a:endParaRPr>
          </a:p>
          <a:p>
            <a:pPr lvl="0" algn="ctr">
              <a:defRPr/>
            </a:pPr>
            <a:r>
              <a:rPr lang="fr-CA" sz="2000" dirty="0">
                <a:solidFill>
                  <a:schemeClr val="tx1">
                    <a:lumMod val="65000"/>
                    <a:lumOff val="35000"/>
                  </a:schemeClr>
                </a:solidFill>
                <a:ea typeface="Lato Light" charset="0"/>
                <a:cs typeface="Lato Light" charset="0"/>
              </a:rPr>
              <a:t>at </a:t>
            </a:r>
            <a:r>
              <a:rPr lang="fr-CA" sz="2000" dirty="0" err="1">
                <a:solidFill>
                  <a:schemeClr val="tx1">
                    <a:lumMod val="65000"/>
                    <a:lumOff val="35000"/>
                  </a:schemeClr>
                </a:solidFill>
                <a:ea typeface="Lato Light" charset="0"/>
                <a:cs typeface="Lato Light" charset="0"/>
              </a:rPr>
              <a:t>this</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challenging</a:t>
            </a:r>
            <a:r>
              <a:rPr lang="fr-CA" sz="2000" dirty="0">
                <a:solidFill>
                  <a:schemeClr val="tx1">
                    <a:lumMod val="65000"/>
                    <a:lumOff val="35000"/>
                  </a:schemeClr>
                </a:solidFill>
                <a:ea typeface="Lato Light" charset="0"/>
                <a:cs typeface="Lato Light" charset="0"/>
              </a:rPr>
              <a:t> tim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CA" sz="2000" dirty="0">
              <a:solidFill>
                <a:schemeClr val="tx1">
                  <a:lumMod val="65000"/>
                  <a:lumOff val="35000"/>
                </a:schemeClr>
              </a:solidFill>
              <a:ea typeface="Lato Light" charset="0"/>
              <a:cs typeface="Lato Light"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000" b="1" i="0" u="none" strike="noStrike" kern="1200" cap="none" spc="300" normalizeH="0" baseline="0" noProof="0" dirty="0">
              <a:ln>
                <a:noFill/>
              </a:ln>
              <a:solidFill>
                <a:srgbClr val="00B0F0"/>
              </a:solidFill>
              <a:effectLst/>
              <a:uLnTx/>
              <a:uFillTx/>
              <a:latin typeface="Montserrat Semi" charset="0"/>
              <a:ea typeface="Montserrat Semi" charset="0"/>
              <a:cs typeface="Montserrat Semi" charset="0"/>
            </a:endParaRPr>
          </a:p>
          <a:p>
            <a:pPr algn="ctr">
              <a:defRPr/>
            </a:pPr>
            <a:r>
              <a:rPr lang="fr-CA" sz="2000" b="1" spc="300" dirty="0">
                <a:solidFill>
                  <a:schemeClr val="accent5">
                    <a:lumMod val="75000"/>
                  </a:schemeClr>
                </a:solidFill>
                <a:latin typeface="Montserrat Semi" charset="0"/>
                <a:ea typeface="Montserrat Semi" charset="0"/>
                <a:cs typeface="Montserrat Semi" charset="0"/>
              </a:rPr>
              <a:t>WHAT IF…</a:t>
            </a:r>
          </a:p>
          <a:p>
            <a:pPr algn="ctr">
              <a:defRPr/>
            </a:pPr>
            <a:endParaRPr lang="fr-CA" sz="2000" b="1" spc="300" dirty="0">
              <a:solidFill>
                <a:srgbClr val="00B0F0"/>
              </a:solidFill>
              <a:latin typeface="Montserrat Semi" charset="0"/>
              <a:ea typeface="Montserrat Semi" charset="0"/>
              <a:cs typeface="Montserrat Semi" charset="0"/>
            </a:endParaRPr>
          </a:p>
          <a:p>
            <a:pPr algn="ctr">
              <a:defRPr/>
            </a:pPr>
            <a:r>
              <a:rPr lang="fr-CA" sz="2000" dirty="0" err="1">
                <a:solidFill>
                  <a:schemeClr val="tx1">
                    <a:lumMod val="65000"/>
                    <a:lumOff val="35000"/>
                  </a:schemeClr>
                </a:solidFill>
                <a:ea typeface="Lato Light" charset="0"/>
                <a:cs typeface="Lato Light" charset="0"/>
              </a:rPr>
              <a:t>What</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could</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happen</a:t>
            </a:r>
            <a:r>
              <a:rPr lang="fr-CA" sz="2000" dirty="0">
                <a:solidFill>
                  <a:schemeClr val="tx1">
                    <a:lumMod val="65000"/>
                    <a:lumOff val="35000"/>
                  </a:schemeClr>
                </a:solidFill>
                <a:ea typeface="Lato Light" charset="0"/>
                <a:cs typeface="Lato Light" charset="0"/>
              </a:rPr>
              <a:t> if </a:t>
            </a:r>
            <a:br>
              <a:rPr lang="fr-CA" sz="2000" dirty="0">
                <a:solidFill>
                  <a:schemeClr val="tx1">
                    <a:lumMod val="65000"/>
                    <a:lumOff val="35000"/>
                  </a:schemeClr>
                </a:solidFill>
                <a:ea typeface="Lato Light" charset="0"/>
                <a:cs typeface="Lato Light" charset="0"/>
              </a:rPr>
            </a:br>
            <a:r>
              <a:rPr lang="fr-CA" sz="2000" dirty="0" err="1">
                <a:solidFill>
                  <a:schemeClr val="tx1">
                    <a:lumMod val="65000"/>
                    <a:lumOff val="35000"/>
                  </a:schemeClr>
                </a:solidFill>
                <a:ea typeface="Lato Light" charset="0"/>
                <a:cs typeface="Lato Light" charset="0"/>
              </a:rPr>
              <a:t>we</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doubled</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your</a:t>
            </a:r>
            <a:r>
              <a:rPr lang="fr-CA" sz="2000" dirty="0">
                <a:solidFill>
                  <a:schemeClr val="tx1">
                    <a:lumMod val="65000"/>
                    <a:lumOff val="35000"/>
                  </a:schemeClr>
                </a:solidFill>
                <a:ea typeface="Lato Light" charset="0"/>
                <a:cs typeface="Lato Light" charset="0"/>
              </a:rPr>
              <a:t> self-confidence?</a:t>
            </a:r>
            <a:endParaRPr lang="en-US" sz="2000" dirty="0">
              <a:solidFill>
                <a:schemeClr val="tx1">
                  <a:lumMod val="65000"/>
                  <a:lumOff val="35000"/>
                </a:schemeClr>
              </a:solidFill>
              <a:ea typeface="Lato Light" charset="0"/>
              <a:cs typeface="Lato Light" charset="0"/>
            </a:endParaRPr>
          </a:p>
          <a:p>
            <a:pPr algn="ctr">
              <a:defRPr/>
            </a:pPr>
            <a:endParaRPr lang="en-US" sz="1601" b="1" spc="300" dirty="0">
              <a:solidFill>
                <a:srgbClr val="00B0F0"/>
              </a:solidFill>
              <a:latin typeface="Montserrat Semi" charset="0"/>
              <a:ea typeface="Montserrat Semi" charset="0"/>
              <a:cs typeface="Montserrat Semi"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300" normalizeH="0" baseline="0" noProof="0" dirty="0">
              <a:ln>
                <a:noFill/>
              </a:ln>
              <a:solidFill>
                <a:srgbClr val="00B0F0"/>
              </a:solidFill>
              <a:effectLst/>
              <a:uLnTx/>
              <a:uFillTx/>
              <a:latin typeface="Montserrat Semi" charset="0"/>
              <a:ea typeface="Montserrat Semi" charset="0"/>
              <a:cs typeface="Montserrat Semi" charset="0"/>
            </a:endParaRPr>
          </a:p>
        </p:txBody>
      </p:sp>
      <p:sp>
        <p:nvSpPr>
          <p:cNvPr id="14" name="TextBox 13"/>
          <p:cNvSpPr txBox="1"/>
          <p:nvPr/>
        </p:nvSpPr>
        <p:spPr>
          <a:xfrm>
            <a:off x="8302221" y="390271"/>
            <a:ext cx="3635830" cy="6494214"/>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b="1" spc="300" dirty="0">
                <a:solidFill>
                  <a:schemeClr val="accent5">
                    <a:lumMod val="75000"/>
                  </a:schemeClr>
                </a:solidFill>
                <a:latin typeface="Montserrat Semi"/>
                <a:ea typeface="Montserrat Semi" charset="0"/>
                <a:cs typeface="Montserrat Semi" charset="0"/>
              </a:rPr>
              <a:t>LEARN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000" b="1" i="0" u="none" strike="noStrike" kern="1200" cap="none" spc="300" normalizeH="0" baseline="0" noProof="0" dirty="0">
              <a:ln>
                <a:noFill/>
              </a:ln>
              <a:solidFill>
                <a:srgbClr val="00B0F0"/>
              </a:solidFill>
              <a:effectLst/>
              <a:uLnTx/>
              <a:uFillTx/>
              <a:latin typeface="Montserrat Semi" charset="0"/>
              <a:ea typeface="Montserrat Semi" charset="0"/>
              <a:cs typeface="Montserrat Semi" charset="0"/>
            </a:endParaRPr>
          </a:p>
          <a:p>
            <a:pPr lvl="0" algn="ctr">
              <a:defRPr/>
            </a:pPr>
            <a:r>
              <a:rPr lang="fr-CA" sz="2000" dirty="0" err="1">
                <a:solidFill>
                  <a:schemeClr val="tx1">
                    <a:lumMod val="65000"/>
                    <a:lumOff val="35000"/>
                  </a:schemeClr>
                </a:solidFill>
                <a:ea typeface="Lato Light" charset="0"/>
                <a:cs typeface="Lato Light" charset="0"/>
              </a:rPr>
              <a:t>What</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would</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you</a:t>
            </a:r>
            <a:r>
              <a:rPr lang="fr-CA" sz="2000" dirty="0">
                <a:solidFill>
                  <a:schemeClr val="tx1">
                    <a:lumMod val="65000"/>
                    <a:lumOff val="35000"/>
                  </a:schemeClr>
                </a:solidFill>
                <a:ea typeface="Lato Light" charset="0"/>
                <a:cs typeface="Lato Light" charset="0"/>
              </a:rPr>
              <a:t> do if </a:t>
            </a:r>
            <a:br>
              <a:rPr lang="fr-CA" sz="2000" dirty="0">
                <a:solidFill>
                  <a:schemeClr val="tx1">
                    <a:lumMod val="65000"/>
                    <a:lumOff val="35000"/>
                  </a:schemeClr>
                </a:solidFill>
                <a:ea typeface="Lato Light" charset="0"/>
                <a:cs typeface="Lato Light" charset="0"/>
              </a:rPr>
            </a:br>
            <a:r>
              <a:rPr lang="fr-CA" sz="2000" dirty="0" err="1">
                <a:solidFill>
                  <a:schemeClr val="tx1">
                    <a:lumMod val="65000"/>
                    <a:lumOff val="35000"/>
                  </a:schemeClr>
                </a:solidFill>
                <a:ea typeface="Lato Light" charset="0"/>
                <a:cs typeface="Lato Light" charset="0"/>
              </a:rPr>
              <a:t>you</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knew</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you</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couldn’t</a:t>
            </a:r>
            <a:r>
              <a:rPr lang="fr-CA" sz="2000" dirty="0">
                <a:solidFill>
                  <a:schemeClr val="tx1">
                    <a:lumMod val="65000"/>
                    <a:lumOff val="35000"/>
                  </a:schemeClr>
                </a:solidFill>
                <a:ea typeface="Lato Light" charset="0"/>
                <a:cs typeface="Lato Light" charset="0"/>
              </a:rPr>
              <a:t> fail?</a:t>
            </a:r>
            <a:endParaRPr lang="en-US" sz="2000" dirty="0">
              <a:solidFill>
                <a:schemeClr val="tx1">
                  <a:lumMod val="65000"/>
                  <a:lumOff val="35000"/>
                </a:schemeClr>
              </a:solidFill>
              <a:ea typeface="Lato Light" charset="0"/>
              <a:cs typeface="Lato Light"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300" normalizeH="0" baseline="0" noProof="0" dirty="0">
              <a:ln>
                <a:noFill/>
              </a:ln>
              <a:solidFill>
                <a:srgbClr val="00B0F0"/>
              </a:solidFill>
              <a:effectLst/>
              <a:uLnTx/>
              <a:uFillTx/>
              <a:latin typeface="Montserrat Semi" charset="0"/>
              <a:ea typeface="Montserrat Semi" charset="0"/>
              <a:cs typeface="Montserrat Semi"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spc="300" dirty="0">
              <a:solidFill>
                <a:srgbClr val="00B0F0"/>
              </a:solidFill>
              <a:latin typeface="Montserrat Semi" charset="0"/>
              <a:ea typeface="Montserrat Semi" charset="0"/>
              <a:cs typeface="Montserrat Semi" charset="0"/>
            </a:endParaRPr>
          </a:p>
          <a:p>
            <a:pPr algn="ctr">
              <a:defRPr/>
            </a:pPr>
            <a:endParaRPr lang="fr-CA" sz="2000" b="1" spc="300" dirty="0">
              <a:solidFill>
                <a:schemeClr val="accent5">
                  <a:lumMod val="75000"/>
                </a:schemeClr>
              </a:solidFill>
              <a:latin typeface="Montserrat Semi"/>
              <a:ea typeface="Montserrat Semi" charset="0"/>
              <a:cs typeface="Montserrat Semi" charset="0"/>
            </a:endParaRPr>
          </a:p>
          <a:p>
            <a:pPr algn="ctr">
              <a:defRPr/>
            </a:pPr>
            <a:r>
              <a:rPr lang="fr-CA" sz="2000" b="1" spc="300" dirty="0">
                <a:solidFill>
                  <a:schemeClr val="accent5">
                    <a:lumMod val="75000"/>
                  </a:schemeClr>
                </a:solidFill>
                <a:latin typeface="Montserrat Semi"/>
                <a:ea typeface="Montserrat Semi" charset="0"/>
                <a:cs typeface="Montserrat Semi" charset="0"/>
              </a:rPr>
              <a:t>CREATIVE MIND</a:t>
            </a:r>
            <a:endParaRPr lang="en-US" sz="2000" b="1" spc="300" dirty="0">
              <a:solidFill>
                <a:schemeClr val="accent5">
                  <a:lumMod val="75000"/>
                </a:schemeClr>
              </a:solidFill>
              <a:latin typeface="Montserrat Semi"/>
              <a:ea typeface="Montserrat Semi" charset="0"/>
              <a:cs typeface="Montserrat Semi"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300" normalizeH="0" baseline="0" noProof="0" dirty="0">
              <a:ln>
                <a:noFill/>
              </a:ln>
              <a:solidFill>
                <a:srgbClr val="00B0F0"/>
              </a:solidFill>
              <a:effectLst/>
              <a:uLnTx/>
              <a:uFillTx/>
              <a:latin typeface="Montserrat Semi" charset="0"/>
              <a:ea typeface="Montserrat Semi" charset="0"/>
              <a:cs typeface="Montserrat Semi" charset="0"/>
            </a:endParaRPr>
          </a:p>
          <a:p>
            <a:pPr lvl="0" algn="ctr">
              <a:defRPr/>
            </a:pPr>
            <a:r>
              <a:rPr lang="fr-CA" sz="2000" dirty="0" err="1">
                <a:solidFill>
                  <a:schemeClr val="tx1">
                    <a:lumMod val="65000"/>
                    <a:lumOff val="35000"/>
                  </a:schemeClr>
                </a:solidFill>
                <a:ea typeface="Lato Light" charset="0"/>
                <a:cs typeface="Lato Light" charset="0"/>
              </a:rPr>
              <a:t>Given</a:t>
            </a:r>
            <a:r>
              <a:rPr lang="fr-CA" sz="2000" dirty="0">
                <a:solidFill>
                  <a:schemeClr val="tx1">
                    <a:lumMod val="65000"/>
                    <a:lumOff val="35000"/>
                  </a:schemeClr>
                </a:solidFill>
                <a:ea typeface="Lato Light" charset="0"/>
                <a:cs typeface="Lato Light" charset="0"/>
              </a:rPr>
              <a:t> the </a:t>
            </a:r>
            <a:r>
              <a:rPr lang="fr-CA" sz="2000" dirty="0" err="1">
                <a:solidFill>
                  <a:schemeClr val="tx1">
                    <a:lumMod val="65000"/>
                    <a:lumOff val="35000"/>
                  </a:schemeClr>
                </a:solidFill>
                <a:ea typeface="Lato Light" charset="0"/>
                <a:cs typeface="Lato Light" charset="0"/>
              </a:rPr>
              <a:t>current</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context</a:t>
            </a:r>
            <a:r>
              <a:rPr lang="fr-CA" sz="2000" dirty="0">
                <a:solidFill>
                  <a:schemeClr val="tx1">
                    <a:lumMod val="65000"/>
                    <a:lumOff val="35000"/>
                  </a:schemeClr>
                </a:solidFill>
                <a:ea typeface="Lato Light" charset="0"/>
                <a:cs typeface="Lato Light" charset="0"/>
              </a:rPr>
              <a:t>, </a:t>
            </a:r>
            <a:br>
              <a:rPr lang="fr-CA" sz="2000" dirty="0">
                <a:solidFill>
                  <a:schemeClr val="tx1">
                    <a:lumMod val="65000"/>
                    <a:lumOff val="35000"/>
                  </a:schemeClr>
                </a:solidFill>
                <a:ea typeface="Lato Light" charset="0"/>
                <a:cs typeface="Lato Light" charset="0"/>
              </a:rPr>
            </a:br>
            <a:r>
              <a:rPr lang="fr-CA" sz="2000" dirty="0" err="1">
                <a:solidFill>
                  <a:schemeClr val="tx1">
                    <a:lumMod val="65000"/>
                    <a:lumOff val="35000"/>
                  </a:schemeClr>
                </a:solidFill>
                <a:ea typeface="Lato Light" charset="0"/>
                <a:cs typeface="Lato Light" charset="0"/>
              </a:rPr>
              <a:t>what</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needs</a:t>
            </a:r>
            <a:r>
              <a:rPr lang="fr-CA" sz="2000" dirty="0">
                <a:solidFill>
                  <a:schemeClr val="tx1">
                    <a:lumMod val="65000"/>
                    <a:lumOff val="35000"/>
                  </a:schemeClr>
                </a:solidFill>
                <a:ea typeface="Lato Light" charset="0"/>
                <a:cs typeface="Lato Light" charset="0"/>
              </a:rPr>
              <a:t> to </a:t>
            </a:r>
            <a:r>
              <a:rPr lang="fr-CA" sz="2000" dirty="0" err="1">
                <a:solidFill>
                  <a:schemeClr val="tx1">
                    <a:lumMod val="65000"/>
                    <a:lumOff val="35000"/>
                  </a:schemeClr>
                </a:solidFill>
                <a:ea typeface="Lato Light" charset="0"/>
                <a:cs typeface="Lato Light" charset="0"/>
              </a:rPr>
              <a:t>be</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reinvented</a:t>
            </a:r>
            <a:r>
              <a:rPr lang="fr-CA" sz="2000" dirty="0">
                <a:solidFill>
                  <a:schemeClr val="tx1">
                    <a:lumMod val="65000"/>
                    <a:lumOff val="35000"/>
                  </a:schemeClr>
                </a:solidFill>
                <a:ea typeface="Lato Light" charset="0"/>
                <a:cs typeface="Lato Light"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300" normalizeH="0" baseline="0" noProof="0" dirty="0">
              <a:ln>
                <a:noFill/>
              </a:ln>
              <a:solidFill>
                <a:srgbClr val="00B0F0"/>
              </a:solidFill>
              <a:effectLst/>
              <a:uLnTx/>
              <a:uFillTx/>
              <a:latin typeface="Montserrat Semi" charset="0"/>
              <a:ea typeface="Montserrat Semi" charset="0"/>
              <a:cs typeface="Montserrat Semi"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spc="300" dirty="0">
              <a:solidFill>
                <a:srgbClr val="00B0F0"/>
              </a:solidFill>
              <a:latin typeface="Montserrat Semi" charset="0"/>
              <a:ea typeface="Montserrat Semi" charset="0"/>
              <a:cs typeface="Montserrat Semi" charset="0"/>
            </a:endParaRPr>
          </a:p>
          <a:p>
            <a:pPr algn="ctr">
              <a:defRPr/>
            </a:pPr>
            <a:endParaRPr lang="fr-CA" sz="2000" b="1" spc="300" dirty="0">
              <a:solidFill>
                <a:schemeClr val="accent5">
                  <a:lumMod val="75000"/>
                </a:schemeClr>
              </a:solidFill>
              <a:latin typeface="Montserrat Semi"/>
              <a:ea typeface="Montserrat Semi" charset="0"/>
              <a:cs typeface="Montserrat Semi" charset="0"/>
            </a:endParaRPr>
          </a:p>
          <a:p>
            <a:pPr algn="ctr">
              <a:defRPr/>
            </a:pPr>
            <a:r>
              <a:rPr lang="fr-CA" sz="2000" b="1" spc="300" dirty="0">
                <a:solidFill>
                  <a:schemeClr val="accent5">
                    <a:lumMod val="75000"/>
                  </a:schemeClr>
                </a:solidFill>
                <a:latin typeface="Montserrat Semi"/>
                <a:ea typeface="Montserrat Semi" charset="0"/>
                <a:cs typeface="Montserrat Semi" charset="0"/>
              </a:rPr>
              <a:t>GIVING YOURSELF ADVICE</a:t>
            </a:r>
            <a:endParaRPr lang="fr-CA" dirty="0">
              <a:solidFill>
                <a:schemeClr val="accent5">
                  <a:lumMod val="75000"/>
                </a:schemeClr>
              </a:solidFill>
              <a:latin typeface="Montserrat Semi"/>
            </a:endParaRPr>
          </a:p>
          <a:p>
            <a:pPr algn="ctr">
              <a:defRPr/>
            </a:pPr>
            <a:endParaRPr lang="en-US" sz="2000" b="1" spc="300" dirty="0">
              <a:solidFill>
                <a:srgbClr val="00B0F0"/>
              </a:solidFill>
              <a:latin typeface="Montserrat Semi" charset="0"/>
              <a:ea typeface="Montserrat Semi" charset="0"/>
              <a:cs typeface="Montserrat Semi" charset="0"/>
            </a:endParaRPr>
          </a:p>
          <a:p>
            <a:pPr algn="ctr">
              <a:defRPr/>
            </a:pPr>
            <a:r>
              <a:rPr lang="fr-CA" sz="2000" dirty="0">
                <a:solidFill>
                  <a:schemeClr val="tx1">
                    <a:lumMod val="65000"/>
                    <a:lumOff val="35000"/>
                  </a:schemeClr>
                </a:solidFill>
                <a:ea typeface="Lato Light" charset="0"/>
                <a:cs typeface="Lato Light" charset="0"/>
              </a:rPr>
              <a:t>If </a:t>
            </a:r>
            <a:r>
              <a:rPr lang="fr-CA" sz="2000" dirty="0" err="1">
                <a:solidFill>
                  <a:schemeClr val="tx1">
                    <a:lumMod val="65000"/>
                    <a:lumOff val="35000"/>
                  </a:schemeClr>
                </a:solidFill>
                <a:ea typeface="Lato Light" charset="0"/>
                <a:cs typeface="Lato Light" charset="0"/>
              </a:rPr>
              <a:t>you</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were</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giving</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yourself</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advice</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what</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would</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you</a:t>
            </a:r>
            <a:r>
              <a:rPr lang="fr-CA" sz="2000" dirty="0">
                <a:solidFill>
                  <a:schemeClr val="tx1">
                    <a:lumMod val="65000"/>
                    <a:lumOff val="35000"/>
                  </a:schemeClr>
                </a:solidFill>
                <a:ea typeface="Lato Light" charset="0"/>
                <a:cs typeface="Lato Light" charset="0"/>
              </a:rPr>
              <a:t> </a:t>
            </a:r>
            <a:br>
              <a:rPr lang="fr-CA" sz="2000" dirty="0">
                <a:solidFill>
                  <a:schemeClr val="tx1">
                    <a:lumMod val="65000"/>
                    <a:lumOff val="35000"/>
                  </a:schemeClr>
                </a:solidFill>
                <a:ea typeface="Lato Light" charset="0"/>
                <a:cs typeface="Lato Light" charset="0"/>
              </a:rPr>
            </a:br>
            <a:r>
              <a:rPr lang="fr-CA" sz="2000" dirty="0">
                <a:solidFill>
                  <a:schemeClr val="tx1">
                    <a:lumMod val="65000"/>
                    <a:lumOff val="35000"/>
                  </a:schemeClr>
                </a:solidFill>
                <a:ea typeface="Lato Light" charset="0"/>
                <a:cs typeface="Lato Light" charset="0"/>
              </a:rPr>
              <a:t>tell </a:t>
            </a:r>
            <a:r>
              <a:rPr lang="fr-CA" sz="2000" dirty="0" err="1">
                <a:solidFill>
                  <a:schemeClr val="tx1">
                    <a:lumMod val="65000"/>
                    <a:lumOff val="35000"/>
                  </a:schemeClr>
                </a:solidFill>
                <a:ea typeface="Lato Light" charset="0"/>
                <a:cs typeface="Lato Light" charset="0"/>
              </a:rPr>
              <a:t>yourself</a:t>
            </a:r>
            <a:r>
              <a:rPr lang="fr-CA" sz="2000" dirty="0">
                <a:solidFill>
                  <a:schemeClr val="tx1">
                    <a:lumMod val="65000"/>
                    <a:lumOff val="35000"/>
                  </a:schemeClr>
                </a:solidFill>
                <a:ea typeface="Lato Light" charset="0"/>
                <a:cs typeface="Lato Light" charset="0"/>
              </a:rPr>
              <a:t> right </a:t>
            </a:r>
            <a:r>
              <a:rPr lang="fr-CA" sz="2000" dirty="0" err="1">
                <a:solidFill>
                  <a:schemeClr val="tx1">
                    <a:lumMod val="65000"/>
                    <a:lumOff val="35000"/>
                  </a:schemeClr>
                </a:solidFill>
                <a:ea typeface="Lato Light" charset="0"/>
                <a:cs typeface="Lato Light" charset="0"/>
              </a:rPr>
              <a:t>now</a:t>
            </a:r>
            <a:r>
              <a:rPr lang="fr-CA" sz="2000" dirty="0">
                <a:solidFill>
                  <a:schemeClr val="tx1">
                    <a:lumMod val="65000"/>
                    <a:lumOff val="35000"/>
                  </a:schemeClr>
                </a:solidFill>
                <a:ea typeface="Lato Light" charset="0"/>
                <a:cs typeface="Lato Light" charset="0"/>
              </a:rPr>
              <a:t>?</a:t>
            </a:r>
            <a:endParaRPr lang="en-US" sz="2000" dirty="0">
              <a:solidFill>
                <a:schemeClr val="tx1">
                  <a:lumMod val="65000"/>
                  <a:lumOff val="35000"/>
                </a:schemeClr>
              </a:solidFill>
              <a:ea typeface="Lato Light" charset="0"/>
              <a:cs typeface="Lato Light"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300" normalizeH="0" baseline="0" noProof="0" dirty="0">
              <a:ln>
                <a:noFill/>
              </a:ln>
              <a:solidFill>
                <a:srgbClr val="00B0F0"/>
              </a:solidFill>
              <a:effectLst/>
              <a:uLnTx/>
              <a:uFillTx/>
              <a:latin typeface="Montserrat Semi" charset="0"/>
              <a:ea typeface="Montserrat Semi" charset="0"/>
              <a:cs typeface="Montserrat Semi" charset="0"/>
            </a:endParaRPr>
          </a:p>
        </p:txBody>
      </p:sp>
      <p:pic>
        <p:nvPicPr>
          <p:cNvPr id="10" name="Picture 9"/>
          <p:cNvPicPr>
            <a:picLocks noChangeAspect="1"/>
          </p:cNvPicPr>
          <p:nvPr/>
        </p:nvPicPr>
        <p:blipFill rotWithShape="1">
          <a:blip r:embed="rId3"/>
          <a:srcRect l="50000" t="5165" r="26610" b="11320"/>
          <a:stretch/>
        </p:blipFill>
        <p:spPr>
          <a:xfrm>
            <a:off x="281132" y="2382418"/>
            <a:ext cx="1719944" cy="4136571"/>
          </a:xfrm>
          <a:prstGeom prst="rect">
            <a:avLst/>
          </a:prstGeom>
        </p:spPr>
      </p:pic>
      <p:sp>
        <p:nvSpPr>
          <p:cNvPr id="2" name="TextBox 1">
            <a:extLst>
              <a:ext uri="{FF2B5EF4-FFF2-40B4-BE49-F238E27FC236}">
                <a16:creationId xmlns:a16="http://schemas.microsoft.com/office/drawing/2014/main" id="{B3B82EAF-84D8-4BEE-8CF6-26348777A5D2}"/>
              </a:ext>
            </a:extLst>
          </p:cNvPr>
          <p:cNvSpPr txBox="1"/>
          <p:nvPr/>
        </p:nvSpPr>
        <p:spPr>
          <a:xfrm>
            <a:off x="2073006" y="4527497"/>
            <a:ext cx="1697284" cy="1015663"/>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strike="noStrike" kern="1200" cap="none" spc="0" normalizeH="0" noProof="0" dirty="0">
                <a:ln>
                  <a:noFill/>
                </a:ln>
                <a:solidFill>
                  <a:schemeClr val="bg1">
                    <a:lumMod val="75000"/>
                  </a:schemeClr>
                </a:solidFill>
                <a:effectLst/>
                <a:uLnTx/>
                <a:uFillTx/>
                <a:latin typeface="Calibri Light" panose="020F0302020204030204"/>
                <a:ea typeface="Lato Light" charset="0"/>
                <a:cs typeface="Lato Light" charset="0"/>
              </a:rPr>
              <a:t>DURATION</a:t>
            </a:r>
          </a:p>
          <a:p>
            <a:pPr algn="ctr">
              <a:defRPr/>
            </a:pPr>
            <a:r>
              <a:rPr lang="fr-CA" sz="2000" b="1" dirty="0">
                <a:solidFill>
                  <a:schemeClr val="accent5"/>
                </a:solidFill>
                <a:latin typeface="Calibri Light" panose="020F0302020204030204"/>
                <a:ea typeface="Lato Light" charset="0"/>
                <a:cs typeface="Lato Light" charset="0"/>
              </a:rPr>
              <a:t>60</a:t>
            </a:r>
            <a:r>
              <a:rPr kumimoji="0" lang="fr-CA" sz="2000" b="1" i="0" u="none" strike="noStrike" kern="1200" cap="none" spc="0" normalizeH="0" noProof="0" dirty="0">
                <a:ln>
                  <a:noFill/>
                </a:ln>
                <a:solidFill>
                  <a:schemeClr val="accent5"/>
                </a:solidFill>
                <a:effectLst/>
                <a:uLnTx/>
                <a:uFillTx/>
                <a:latin typeface="Calibri Light" panose="020F0302020204030204"/>
                <a:ea typeface="Lato Light" charset="0"/>
                <a:cs typeface="Lato Light" charset="0"/>
              </a:rPr>
              <a:t>% </a:t>
            </a:r>
            <a:r>
              <a:rPr kumimoji="0" lang="fr-CA" sz="2000" b="1" i="0" u="none" strike="noStrike" kern="1200" cap="none" spc="0" normalizeH="0" noProof="0" dirty="0">
                <a:ln>
                  <a:noFill/>
                </a:ln>
                <a:solidFill>
                  <a:schemeClr val="bg1">
                    <a:lumMod val="75000"/>
                  </a:schemeClr>
                </a:solidFill>
                <a:effectLst/>
                <a:uLnTx/>
                <a:uFillTx/>
                <a:latin typeface="Calibri Light" panose="020F0302020204030204"/>
                <a:ea typeface="Lato Light" charset="0"/>
                <a:cs typeface="Lato Light" charset="0"/>
              </a:rPr>
              <a:t>of the </a:t>
            </a:r>
            <a:r>
              <a:rPr lang="fr-CA" sz="2000" b="1" dirty="0">
                <a:solidFill>
                  <a:schemeClr val="bg1">
                    <a:lumMod val="75000"/>
                  </a:schemeClr>
                </a:solidFill>
                <a:latin typeface="Calibri Light" panose="020F0302020204030204"/>
                <a:ea typeface="Lato Light" charset="0"/>
                <a:cs typeface="Lato Light" charset="0"/>
              </a:rPr>
              <a:t>session</a:t>
            </a:r>
            <a:endParaRPr lang="fr-CA" sz="2000" b="1" i="0" u="none" strike="noStrike" kern="1200" cap="none" spc="0" normalizeH="0" noProof="0" dirty="0">
              <a:ln>
                <a:noFill/>
              </a:ln>
              <a:solidFill>
                <a:schemeClr val="bg1">
                  <a:lumMod val="75000"/>
                </a:schemeClr>
              </a:solidFill>
              <a:effectLst/>
              <a:uLnTx/>
              <a:uFillTx/>
              <a:latin typeface="Calibri Light" panose="020F0302020204030204"/>
              <a:ea typeface="Lato Light" charset="0"/>
              <a:cs typeface="Lato Light" charset="0"/>
            </a:endParaRPr>
          </a:p>
        </p:txBody>
      </p:sp>
    </p:spTree>
    <p:extLst>
      <p:ext uri="{BB962C8B-B14F-4D97-AF65-F5344CB8AC3E}">
        <p14:creationId xmlns:p14="http://schemas.microsoft.com/office/powerpoint/2010/main" val="2350253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0"/>
            <a:ext cx="4047934" cy="6858000"/>
          </a:xfrm>
          <a:prstGeom prst="rect">
            <a:avLst/>
          </a:prstGeom>
          <a:solidFill>
            <a:srgbClr val="4735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p:cNvSpPr txBox="1"/>
          <p:nvPr/>
        </p:nvSpPr>
        <p:spPr>
          <a:xfrm>
            <a:off x="222501" y="529361"/>
            <a:ext cx="3694406" cy="2308709"/>
          </a:xfrm>
          <a:prstGeom prst="rect">
            <a:avLst/>
          </a:prstGeom>
          <a:noFill/>
        </p:spPr>
        <p:txBody>
          <a:bodyPr wrap="square" rtlCol="0">
            <a:spAutoFit/>
          </a:bodyPr>
          <a:lstStyle/>
          <a:p>
            <a:pPr lvl="0">
              <a:defRPr/>
            </a:pPr>
            <a:r>
              <a:rPr lang="fr-CA" sz="4001" b="1">
                <a:solidFill>
                  <a:schemeClr val="accent5">
                    <a:lumMod val="75000"/>
                  </a:schemeClr>
                </a:solidFill>
                <a:latin typeface="Montserrat Semi" charset="0"/>
                <a:ea typeface="Montserrat Semi" charset="0"/>
                <a:cs typeface="Montserrat Semi" charset="0"/>
              </a:rPr>
              <a:t>Part 4</a:t>
            </a:r>
          </a:p>
          <a:p>
            <a:pPr lvl="0">
              <a:defRPr/>
            </a:pPr>
            <a:r>
              <a:rPr lang="fr-CA" sz="4001" b="1">
                <a:solidFill>
                  <a:schemeClr val="bg1"/>
                </a:solidFill>
                <a:latin typeface="Montserrat Semi" charset="0"/>
                <a:ea typeface="Montserrat Semi" charset="0"/>
                <a:cs typeface="Montserrat Semi" charset="0"/>
              </a:rPr>
              <a:t>WILL</a:t>
            </a:r>
          </a:p>
          <a:p>
            <a:pPr>
              <a:defRPr/>
            </a:pPr>
            <a:r>
              <a:rPr lang="en-US" sz="2400">
                <a:solidFill>
                  <a:schemeClr val="bg1"/>
                </a:solidFill>
                <a:ea typeface="Lato Light" charset="0"/>
                <a:cs typeface="Lato Light" charset="0"/>
              </a:rPr>
              <a:t>What actions will you take?</a:t>
            </a:r>
            <a:r>
              <a:rPr lang="fr-CA" sz="2400">
                <a:solidFill>
                  <a:schemeClr val="bg1"/>
                </a:solidFill>
                <a:ea typeface="Lato Light" charset="0"/>
                <a:cs typeface="Lato Light" charset="0"/>
              </a:rPr>
              <a:t> </a:t>
            </a:r>
            <a:endParaRPr lang="en-US" sz="2400">
              <a:solidFill>
                <a:schemeClr val="bg1"/>
              </a:solidFill>
              <a:ea typeface="Lato Light" charset="0"/>
              <a:cs typeface="Lato Light" charset="0"/>
            </a:endParaRPr>
          </a:p>
          <a:p>
            <a:pPr lvl="0">
              <a:defRPr/>
            </a:pPr>
            <a:endParaRPr lang="en-US" sz="4001" b="1">
              <a:solidFill>
                <a:schemeClr val="bg1"/>
              </a:solidFill>
              <a:latin typeface="Montserrat Semi" charset="0"/>
              <a:ea typeface="Montserrat Semi" charset="0"/>
              <a:cs typeface="Montserrat Semi" charset="0"/>
            </a:endParaRPr>
          </a:p>
        </p:txBody>
      </p:sp>
      <p:sp>
        <p:nvSpPr>
          <p:cNvPr id="13" name="TextBox 12"/>
          <p:cNvSpPr txBox="1"/>
          <p:nvPr/>
        </p:nvSpPr>
        <p:spPr>
          <a:xfrm>
            <a:off x="5941931" y="1174524"/>
            <a:ext cx="4549885" cy="4893776"/>
          </a:xfrm>
          <a:prstGeom prst="rect">
            <a:avLst/>
          </a:prstGeom>
          <a:noFill/>
        </p:spPr>
        <p:txBody>
          <a:bodyPr wrap="square" rtlCol="0" anchor="t">
            <a:spAutoFit/>
          </a:bodyPr>
          <a:lstStyle/>
          <a:p>
            <a:pPr lvl="0" algn="ctr">
              <a:defRPr/>
            </a:pPr>
            <a:r>
              <a:rPr lang="fr-CA" sz="2000" b="1" spc="300" dirty="0">
                <a:solidFill>
                  <a:schemeClr val="accent5">
                    <a:lumMod val="75000"/>
                  </a:schemeClr>
                </a:solidFill>
                <a:latin typeface="Montserrat Semi" charset="0"/>
                <a:ea typeface="Montserrat Semi" charset="0"/>
                <a:cs typeface="Montserrat Semi" charset="0"/>
              </a:rPr>
              <a:t>LEARNING</a:t>
            </a:r>
            <a:endParaRPr lang="en-US" sz="2000" b="1" spc="300" dirty="0">
              <a:solidFill>
                <a:schemeClr val="accent5">
                  <a:lumMod val="75000"/>
                </a:schemeClr>
              </a:solidFill>
              <a:latin typeface="Montserrat Semi" charset="0"/>
              <a:ea typeface="Montserrat Semi" charset="0"/>
              <a:cs typeface="Montserrat Semi"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spc="300" dirty="0">
              <a:solidFill>
                <a:srgbClr val="3494BA"/>
              </a:solidFill>
              <a:latin typeface="Montserrat Semi" charset="0"/>
              <a:ea typeface="Montserrat Semi" charset="0"/>
              <a:cs typeface="Montserrat Semi" charset="0"/>
            </a:endParaRPr>
          </a:p>
          <a:p>
            <a:pPr lvl="0" algn="ctr">
              <a:defRPr/>
            </a:pPr>
            <a:r>
              <a:rPr lang="fr-CA" sz="2000" dirty="0" err="1">
                <a:solidFill>
                  <a:schemeClr val="tx1">
                    <a:lumMod val="65000"/>
                    <a:lumOff val="35000"/>
                  </a:schemeClr>
                </a:solidFill>
                <a:ea typeface="Lato Light" charset="0"/>
                <a:cs typeface="Lato Light" charset="0"/>
              </a:rPr>
              <a:t>What</a:t>
            </a:r>
            <a:r>
              <a:rPr lang="fr-CA" sz="2000" dirty="0">
                <a:solidFill>
                  <a:schemeClr val="tx1">
                    <a:lumMod val="65000"/>
                    <a:lumOff val="35000"/>
                  </a:schemeClr>
                </a:solidFill>
                <a:ea typeface="Lato Light" charset="0"/>
                <a:cs typeface="Lato Light" charset="0"/>
              </a:rPr>
              <a:t> have </a:t>
            </a:r>
            <a:r>
              <a:rPr lang="fr-CA" sz="2000" dirty="0" err="1">
                <a:solidFill>
                  <a:schemeClr val="tx1">
                    <a:lumMod val="65000"/>
                    <a:lumOff val="35000"/>
                  </a:schemeClr>
                </a:solidFill>
                <a:ea typeface="Lato Light" charset="0"/>
                <a:cs typeface="Lato Light" charset="0"/>
              </a:rPr>
              <a:t>you</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learned</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today</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that</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will</a:t>
            </a:r>
            <a:r>
              <a:rPr lang="fr-CA" sz="2000" dirty="0">
                <a:solidFill>
                  <a:schemeClr val="tx1">
                    <a:lumMod val="65000"/>
                    <a:lumOff val="35000"/>
                  </a:schemeClr>
                </a:solidFill>
                <a:ea typeface="Lato Light" charset="0"/>
                <a:cs typeface="Lato Light" charset="0"/>
              </a:rPr>
              <a:t> help </a:t>
            </a:r>
            <a:r>
              <a:rPr lang="fr-CA" sz="2000" dirty="0" err="1">
                <a:solidFill>
                  <a:schemeClr val="tx1">
                    <a:lumMod val="65000"/>
                    <a:lumOff val="35000"/>
                  </a:schemeClr>
                </a:solidFill>
                <a:ea typeface="Lato Light" charset="0"/>
                <a:cs typeface="Lato Light" charset="0"/>
              </a:rPr>
              <a:t>you</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cope</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with</a:t>
            </a:r>
            <a:r>
              <a:rPr lang="fr-CA" sz="2000" dirty="0">
                <a:solidFill>
                  <a:schemeClr val="tx1">
                    <a:lumMod val="65000"/>
                    <a:lumOff val="35000"/>
                  </a:schemeClr>
                </a:solidFill>
                <a:ea typeface="Lato Light" charset="0"/>
                <a:cs typeface="Lato Light" charset="0"/>
              </a:rPr>
              <a:t> the </a:t>
            </a:r>
            <a:r>
              <a:rPr lang="fr-CA" sz="2000" dirty="0" err="1">
                <a:solidFill>
                  <a:schemeClr val="tx1">
                    <a:lumMod val="65000"/>
                    <a:lumOff val="35000"/>
                  </a:schemeClr>
                </a:solidFill>
                <a:ea typeface="Lato Light" charset="0"/>
                <a:cs typeface="Lato Light" charset="0"/>
              </a:rPr>
              <a:t>current</a:t>
            </a:r>
            <a:r>
              <a:rPr lang="fr-CA" sz="2000" dirty="0">
                <a:solidFill>
                  <a:schemeClr val="tx1">
                    <a:lumMod val="65000"/>
                    <a:lumOff val="35000"/>
                  </a:schemeClr>
                </a:solidFill>
                <a:ea typeface="Lato Light" charset="0"/>
                <a:cs typeface="Lato Light" charset="0"/>
              </a:rPr>
              <a:t> situation?</a:t>
            </a:r>
            <a:endParaRPr lang="en-US" sz="2000" dirty="0">
              <a:solidFill>
                <a:schemeClr val="tx1">
                  <a:lumMod val="65000"/>
                  <a:lumOff val="35000"/>
                </a:schemeClr>
              </a:solidFill>
              <a:ea typeface="Lato Light" charset="0"/>
              <a:cs typeface="Lato Light" charset="0"/>
            </a:endParaRPr>
          </a:p>
          <a:p>
            <a:pPr lvl="0" algn="ctr">
              <a:defRPr/>
            </a:pPr>
            <a:endParaRPr lang="fr-CA" sz="2000" dirty="0">
              <a:solidFill>
                <a:prstClr val="white">
                  <a:lumMod val="50000"/>
                </a:prstClr>
              </a:solidFill>
              <a:latin typeface="Calibri Light" panose="020F0302020204030204"/>
              <a:ea typeface="Lato Light" charset="0"/>
              <a:cs typeface="Lato Light" charset="0"/>
            </a:endParaRPr>
          </a:p>
          <a:p>
            <a:pPr algn="ctr">
              <a:defRPr/>
            </a:pPr>
            <a:endParaRPr lang="fr-CA" sz="2000" b="1" spc="300" dirty="0">
              <a:solidFill>
                <a:srgbClr val="3494BA"/>
              </a:solidFill>
              <a:latin typeface="Montserrat Semi" charset="0"/>
              <a:ea typeface="Montserrat Semi" charset="0"/>
              <a:cs typeface="Montserrat Semi" charset="0"/>
            </a:endParaRPr>
          </a:p>
          <a:p>
            <a:pPr algn="ctr">
              <a:defRPr/>
            </a:pPr>
            <a:endParaRPr lang="fr-CA" sz="2000" b="1" spc="300" dirty="0">
              <a:solidFill>
                <a:srgbClr val="3494BA"/>
              </a:solidFill>
              <a:latin typeface="Montserrat Semi" charset="0"/>
              <a:ea typeface="Montserrat Semi" charset="0"/>
              <a:cs typeface="Montserrat Semi" charset="0"/>
            </a:endParaRPr>
          </a:p>
          <a:p>
            <a:pPr algn="ctr">
              <a:defRPr/>
            </a:pPr>
            <a:endParaRPr lang="fr-CA" sz="2000" b="1" spc="300" dirty="0">
              <a:solidFill>
                <a:srgbClr val="3494BA"/>
              </a:solidFill>
              <a:latin typeface="Montserrat Semi" charset="0"/>
              <a:ea typeface="Montserrat Semi" charset="0"/>
              <a:cs typeface="Montserrat Semi" charset="0"/>
            </a:endParaRPr>
          </a:p>
          <a:p>
            <a:pPr lvl="0" algn="ctr">
              <a:defRPr/>
            </a:pPr>
            <a:r>
              <a:rPr lang="fr-CA" sz="2000" b="1" spc="300" dirty="0">
                <a:solidFill>
                  <a:schemeClr val="accent5">
                    <a:lumMod val="75000"/>
                  </a:schemeClr>
                </a:solidFill>
                <a:latin typeface="Montserrat Semi" charset="0"/>
                <a:ea typeface="Montserrat Semi" charset="0"/>
                <a:cs typeface="Montserrat Semi" charset="0"/>
              </a:rPr>
              <a:t>STEPS IN THE </a:t>
            </a:r>
            <a:br>
              <a:rPr lang="fr-CA" sz="2000" b="1" spc="300" dirty="0">
                <a:solidFill>
                  <a:schemeClr val="accent5">
                    <a:lumMod val="75000"/>
                  </a:schemeClr>
                </a:solidFill>
                <a:latin typeface="Montserrat Semi" charset="0"/>
                <a:ea typeface="Montserrat Semi" charset="0"/>
                <a:cs typeface="Montserrat Semi" charset="0"/>
              </a:rPr>
            </a:br>
            <a:r>
              <a:rPr lang="fr-CA" sz="2000" b="1" spc="300" dirty="0">
                <a:solidFill>
                  <a:schemeClr val="accent5">
                    <a:lumMod val="75000"/>
                  </a:schemeClr>
                </a:solidFill>
                <a:latin typeface="Montserrat Semi" charset="0"/>
                <a:ea typeface="Montserrat Semi" charset="0"/>
                <a:cs typeface="Montserrat Semi" charset="0"/>
              </a:rPr>
              <a:t>RIGHT DIRECTION</a:t>
            </a:r>
            <a:endParaRPr lang="en-US" sz="2000" b="1" spc="300" dirty="0">
              <a:solidFill>
                <a:schemeClr val="accent5">
                  <a:lumMod val="75000"/>
                </a:schemeClr>
              </a:solidFill>
              <a:latin typeface="Montserrat Semi" charset="0"/>
              <a:ea typeface="Montserrat Semi" charset="0"/>
              <a:cs typeface="Montserrat Semi" charset="0"/>
            </a:endParaRPr>
          </a:p>
          <a:p>
            <a:pPr algn="ctr">
              <a:defRPr/>
            </a:pPr>
            <a:endParaRPr lang="en-US" sz="2000" b="1" spc="300" dirty="0">
              <a:solidFill>
                <a:srgbClr val="3494BA"/>
              </a:solidFill>
              <a:latin typeface="Montserrat Semi" charset="0"/>
              <a:ea typeface="Montserrat Semi" charset="0"/>
              <a:cs typeface="Montserrat Semi" charset="0"/>
            </a:endParaRPr>
          </a:p>
          <a:p>
            <a:pPr algn="ctr">
              <a:defRPr/>
            </a:pPr>
            <a:r>
              <a:rPr lang="fr-CA" sz="2000" dirty="0" err="1">
                <a:solidFill>
                  <a:schemeClr val="tx1">
                    <a:lumMod val="65000"/>
                    <a:lumOff val="35000"/>
                  </a:schemeClr>
                </a:solidFill>
                <a:ea typeface="Lato Light" charset="0"/>
                <a:cs typeface="Lato Light" charset="0"/>
              </a:rPr>
              <a:t>What</a:t>
            </a:r>
            <a:r>
              <a:rPr lang="fr-CA" sz="2000" dirty="0">
                <a:solidFill>
                  <a:schemeClr val="tx1">
                    <a:lumMod val="65000"/>
                    <a:lumOff val="35000"/>
                  </a:schemeClr>
                </a:solidFill>
                <a:ea typeface="Lato Light" charset="0"/>
                <a:cs typeface="Lato Light" charset="0"/>
              </a:rPr>
              <a:t> are </a:t>
            </a:r>
            <a:r>
              <a:rPr lang="fr-CA" sz="2000" dirty="0" err="1">
                <a:solidFill>
                  <a:schemeClr val="tx1">
                    <a:lumMod val="65000"/>
                    <a:lumOff val="35000"/>
                  </a:schemeClr>
                </a:solidFill>
                <a:ea typeface="Lato Light" charset="0"/>
                <a:cs typeface="Lato Light" charset="0"/>
              </a:rPr>
              <a:t>you</a:t>
            </a:r>
            <a:r>
              <a:rPr lang="fr-CA" sz="2000" dirty="0">
                <a:solidFill>
                  <a:schemeClr val="tx1">
                    <a:lumMod val="65000"/>
                    <a:lumOff val="35000"/>
                  </a:schemeClr>
                </a:solidFill>
                <a:ea typeface="Lato Light" charset="0"/>
                <a:cs typeface="Lato Light" charset="0"/>
              </a:rPr>
              <a:t> </a:t>
            </a:r>
            <a:r>
              <a:rPr lang="fr-CA" sz="2000" dirty="0" err="1">
                <a:solidFill>
                  <a:schemeClr val="tx1">
                    <a:lumMod val="65000"/>
                    <a:lumOff val="35000"/>
                  </a:schemeClr>
                </a:solidFill>
                <a:ea typeface="Lato Light" charset="0"/>
                <a:cs typeface="Lato Light" charset="0"/>
              </a:rPr>
              <a:t>willing</a:t>
            </a:r>
            <a:r>
              <a:rPr lang="fr-CA" sz="2000" dirty="0">
                <a:solidFill>
                  <a:schemeClr val="tx1">
                    <a:lumMod val="65000"/>
                    <a:lumOff val="35000"/>
                  </a:schemeClr>
                </a:solidFill>
                <a:ea typeface="Lato Light" charset="0"/>
                <a:cs typeface="Lato Light" charset="0"/>
              </a:rPr>
              <a:t> to </a:t>
            </a:r>
            <a:r>
              <a:rPr lang="fr-CA" sz="2000" dirty="0">
                <a:ea typeface="Lato Light" charset="0"/>
                <a:cs typeface="Lato Light" charset="0"/>
              </a:rPr>
              <a:t/>
            </a:r>
            <a:br>
              <a:rPr lang="fr-CA" sz="2000" dirty="0">
                <a:ea typeface="Lato Light" charset="0"/>
                <a:cs typeface="Lato Light" charset="0"/>
              </a:rPr>
            </a:br>
            <a:r>
              <a:rPr lang="fr-CA" sz="2000" dirty="0">
                <a:solidFill>
                  <a:schemeClr val="tx1">
                    <a:lumMod val="65000"/>
                    <a:lumOff val="35000"/>
                  </a:schemeClr>
                </a:solidFill>
                <a:ea typeface="Lato Light" charset="0"/>
                <a:cs typeface="Lato Light" charset="0"/>
              </a:rPr>
              <a:t>do, </a:t>
            </a:r>
            <a:r>
              <a:rPr lang="fr-CA" sz="2000" dirty="0" err="1">
                <a:solidFill>
                  <a:schemeClr val="tx1">
                    <a:lumMod val="65000"/>
                    <a:lumOff val="35000"/>
                  </a:schemeClr>
                </a:solidFill>
                <a:ea typeface="Lato Light" charset="0"/>
                <a:cs typeface="Lato Light" charset="0"/>
              </a:rPr>
              <a:t>try</a:t>
            </a:r>
            <a:r>
              <a:rPr lang="fr-CA" sz="2000" dirty="0">
                <a:solidFill>
                  <a:schemeClr val="tx1">
                    <a:lumMod val="65000"/>
                    <a:lumOff val="35000"/>
                  </a:schemeClr>
                </a:solidFill>
                <a:ea typeface="Lato Light" charset="0"/>
                <a:cs typeface="Lato Light" charset="0"/>
              </a:rPr>
              <a:t> or change to move </a:t>
            </a:r>
            <a:endParaRPr lang="en-US" sz="2000" dirty="0">
              <a:solidFill>
                <a:schemeClr val="tx1">
                  <a:lumMod val="65000"/>
                  <a:lumOff val="35000"/>
                </a:schemeClr>
              </a:solidFill>
              <a:ea typeface="Lato Light" charset="0"/>
              <a:cs typeface="Lato Light" charset="0"/>
            </a:endParaRPr>
          </a:p>
          <a:p>
            <a:pPr algn="ctr">
              <a:defRPr/>
            </a:pPr>
            <a:r>
              <a:rPr lang="fr-CA" sz="2000" dirty="0">
                <a:solidFill>
                  <a:schemeClr val="tx1">
                    <a:lumMod val="65000"/>
                    <a:lumOff val="35000"/>
                  </a:schemeClr>
                </a:solidFill>
                <a:ea typeface="Lato Light" charset="0"/>
                <a:cs typeface="Lato Light" charset="0"/>
              </a:rPr>
              <a:t>in the right direction?</a:t>
            </a:r>
            <a:endParaRPr lang="en-US" sz="2000">
              <a:solidFill>
                <a:schemeClr val="tx1">
                  <a:lumMod val="65000"/>
                  <a:lumOff val="35000"/>
                </a:schemeClr>
              </a:solidFill>
              <a:ea typeface="Lato Light" charset="0"/>
              <a:cs typeface="Lato Light" charset="0"/>
            </a:endParaRPr>
          </a:p>
          <a:p>
            <a:pPr lvl="0" algn="ctr">
              <a:defRPr/>
            </a:pPr>
            <a:endParaRPr lang="en-US" sz="1600" dirty="0">
              <a:solidFill>
                <a:prstClr val="white">
                  <a:lumMod val="50000"/>
                </a:prstClr>
              </a:solidFill>
              <a:latin typeface="Calibri Light" panose="020F0302020204030204"/>
              <a:ea typeface="Lato Light" charset="0"/>
              <a:cs typeface="Lato Light"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300" normalizeH="0" baseline="0" noProof="0" dirty="0">
              <a:ln>
                <a:noFill/>
              </a:ln>
              <a:solidFill>
                <a:srgbClr val="3494BA"/>
              </a:solidFill>
              <a:effectLst/>
              <a:uLnTx/>
              <a:uFillTx/>
              <a:latin typeface="Montserrat Semi" charset="0"/>
              <a:ea typeface="Montserrat Semi" charset="0"/>
              <a:cs typeface="Montserrat Semi" charset="0"/>
            </a:endParaRPr>
          </a:p>
        </p:txBody>
      </p:sp>
      <p:sp>
        <p:nvSpPr>
          <p:cNvPr id="14" name="TextBox 13"/>
          <p:cNvSpPr txBox="1"/>
          <p:nvPr/>
        </p:nvSpPr>
        <p:spPr>
          <a:xfrm>
            <a:off x="6835643" y="6041965"/>
            <a:ext cx="276245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a:solidFill>
                  <a:srgbClr val="473561"/>
                </a:solidFill>
                <a:ea typeface="Lato Light" charset="0"/>
                <a:cs typeface="Lato Light" charset="0"/>
              </a:rPr>
              <a:t>How can I support you?</a:t>
            </a:r>
            <a:r>
              <a:rPr lang="fr-CA" sz="2000">
                <a:solidFill>
                  <a:srgbClr val="473561"/>
                </a:solidFill>
                <a:ea typeface="Lato Light" charset="0"/>
                <a:cs typeface="Lato Light" charset="0"/>
              </a:rPr>
              <a:t> </a:t>
            </a:r>
            <a:endParaRPr kumimoji="0" lang="en-US" sz="2000" b="0" i="0" u="none" strike="noStrike" kern="1200" cap="none" spc="0" normalizeH="0" baseline="0" noProof="0">
              <a:ln>
                <a:noFill/>
              </a:ln>
              <a:solidFill>
                <a:srgbClr val="473561"/>
              </a:solidFill>
              <a:effectLst/>
              <a:uLnTx/>
              <a:uFillTx/>
              <a:ea typeface="Lato Light" charset="0"/>
              <a:cs typeface="Lato Light" charset="0"/>
            </a:endParaRPr>
          </a:p>
        </p:txBody>
      </p:sp>
      <p:pic>
        <p:nvPicPr>
          <p:cNvPr id="10" name="Picture 9"/>
          <p:cNvPicPr>
            <a:picLocks noChangeAspect="1"/>
          </p:cNvPicPr>
          <p:nvPr/>
        </p:nvPicPr>
        <p:blipFill rotWithShape="1">
          <a:blip r:embed="rId3"/>
          <a:srcRect l="74426" t="5165" r="2332" b="11320"/>
          <a:stretch/>
        </p:blipFill>
        <p:spPr>
          <a:xfrm>
            <a:off x="270247" y="2382417"/>
            <a:ext cx="1709057" cy="4136571"/>
          </a:xfrm>
          <a:prstGeom prst="rect">
            <a:avLst/>
          </a:prstGeom>
        </p:spPr>
      </p:pic>
      <p:sp>
        <p:nvSpPr>
          <p:cNvPr id="2" name="TextBox 1">
            <a:extLst>
              <a:ext uri="{FF2B5EF4-FFF2-40B4-BE49-F238E27FC236}">
                <a16:creationId xmlns:a16="http://schemas.microsoft.com/office/drawing/2014/main" id="{9AFB8D41-5DF9-418D-8696-E0E00C1184A7}"/>
              </a:ext>
            </a:extLst>
          </p:cNvPr>
          <p:cNvSpPr txBox="1"/>
          <p:nvPr/>
        </p:nvSpPr>
        <p:spPr>
          <a:xfrm>
            <a:off x="2073006" y="4527497"/>
            <a:ext cx="1697284" cy="1015663"/>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strike="noStrike" kern="1200" cap="none" spc="0" normalizeH="0" noProof="0" dirty="0">
                <a:ln>
                  <a:noFill/>
                </a:ln>
                <a:solidFill>
                  <a:schemeClr val="bg1">
                    <a:lumMod val="75000"/>
                  </a:schemeClr>
                </a:solidFill>
                <a:effectLst/>
                <a:uLnTx/>
                <a:uFillTx/>
                <a:latin typeface="Calibri Light" panose="020F0302020204030204"/>
                <a:ea typeface="Lato Light" charset="0"/>
                <a:cs typeface="Lato Light" charset="0"/>
              </a:rPr>
              <a:t>DURATION</a:t>
            </a:r>
          </a:p>
          <a:p>
            <a:pPr algn="ctr">
              <a:defRPr/>
            </a:pPr>
            <a:r>
              <a:rPr lang="fr-CA" sz="2000" b="1" dirty="0">
                <a:solidFill>
                  <a:schemeClr val="accent5"/>
                </a:solidFill>
                <a:latin typeface="Calibri Light" panose="020F0302020204030204"/>
                <a:ea typeface="Lato Light" charset="0"/>
                <a:cs typeface="Lato Light" charset="0"/>
              </a:rPr>
              <a:t>15</a:t>
            </a:r>
            <a:r>
              <a:rPr kumimoji="0" lang="fr-CA" sz="2000" b="1" i="0" u="none" strike="noStrike" kern="1200" cap="none" spc="0" normalizeH="0" noProof="0" dirty="0">
                <a:ln>
                  <a:noFill/>
                </a:ln>
                <a:solidFill>
                  <a:schemeClr val="accent5"/>
                </a:solidFill>
                <a:effectLst/>
                <a:uLnTx/>
                <a:uFillTx/>
                <a:latin typeface="Calibri Light" panose="020F0302020204030204"/>
                <a:ea typeface="Lato Light" charset="0"/>
                <a:cs typeface="Lato Light" charset="0"/>
              </a:rPr>
              <a:t>% </a:t>
            </a:r>
            <a:r>
              <a:rPr kumimoji="0" lang="fr-CA" sz="2000" b="1" i="0" u="none" strike="noStrike" kern="1200" cap="none" spc="0" normalizeH="0" noProof="0" dirty="0">
                <a:ln>
                  <a:noFill/>
                </a:ln>
                <a:solidFill>
                  <a:schemeClr val="bg1">
                    <a:lumMod val="75000"/>
                  </a:schemeClr>
                </a:solidFill>
                <a:effectLst/>
                <a:uLnTx/>
                <a:uFillTx/>
                <a:latin typeface="Calibri Light" panose="020F0302020204030204"/>
                <a:ea typeface="Lato Light" charset="0"/>
                <a:cs typeface="Lato Light" charset="0"/>
              </a:rPr>
              <a:t>of the </a:t>
            </a:r>
            <a:r>
              <a:rPr lang="fr-CA" sz="2000" b="1" dirty="0">
                <a:solidFill>
                  <a:schemeClr val="bg1">
                    <a:lumMod val="75000"/>
                  </a:schemeClr>
                </a:solidFill>
                <a:latin typeface="Calibri Light" panose="020F0302020204030204"/>
                <a:ea typeface="Lato Light" charset="0"/>
                <a:cs typeface="Lato Light" charset="0"/>
              </a:rPr>
              <a:t>session</a:t>
            </a:r>
            <a:endParaRPr lang="fr-CA" sz="2000" b="1" i="0" u="none" strike="noStrike" kern="1200" cap="none" spc="0" normalizeH="0" noProof="0" dirty="0">
              <a:ln>
                <a:noFill/>
              </a:ln>
              <a:solidFill>
                <a:schemeClr val="bg1">
                  <a:lumMod val="75000"/>
                </a:schemeClr>
              </a:solidFill>
              <a:effectLst/>
              <a:uLnTx/>
              <a:uFillTx/>
              <a:latin typeface="Calibri Light" panose="020F0302020204030204"/>
              <a:ea typeface="Lato Light" charset="0"/>
              <a:cs typeface="Lato Light" charset="0"/>
            </a:endParaRPr>
          </a:p>
        </p:txBody>
      </p:sp>
    </p:spTree>
    <p:extLst>
      <p:ext uri="{BB962C8B-B14F-4D97-AF65-F5344CB8AC3E}">
        <p14:creationId xmlns:p14="http://schemas.microsoft.com/office/powerpoint/2010/main" val="27137105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07784" y="2275902"/>
            <a:ext cx="11464119" cy="2123658"/>
          </a:xfrm>
          <a:prstGeom prst="rect">
            <a:avLst/>
          </a:prstGeom>
          <a:noFill/>
        </p:spPr>
        <p:txBody>
          <a:bodyPr wrap="square" rtlCol="0">
            <a:spAutoFit/>
          </a:bodyPr>
          <a:lstStyle/>
          <a:p>
            <a:pPr lvl="0" algn="ctr">
              <a:defRPr/>
            </a:pPr>
            <a:r>
              <a:rPr lang="en-CA" sz="4800" b="1" dirty="0">
                <a:solidFill>
                  <a:schemeClr val="bg1"/>
                </a:solidFill>
                <a:latin typeface="Montserrat Semi" charset="0"/>
                <a:ea typeface="Montserrat Semi" charset="0"/>
                <a:cs typeface="Montserrat Semi" charset="0"/>
              </a:rPr>
              <a:t>Designed</a:t>
            </a:r>
            <a:r>
              <a:rPr lang="fr-CA" sz="4800" b="1" dirty="0">
                <a:solidFill>
                  <a:schemeClr val="bg1"/>
                </a:solidFill>
                <a:latin typeface="Montserrat Semi" charset="0"/>
                <a:ea typeface="Montserrat Semi" charset="0"/>
                <a:cs typeface="Montserrat Semi" charset="0"/>
              </a:rPr>
              <a:t> for </a:t>
            </a:r>
            <a:r>
              <a:rPr lang="en-CA" sz="4800" b="1" dirty="0">
                <a:solidFill>
                  <a:schemeClr val="bg1"/>
                </a:solidFill>
                <a:latin typeface="Montserrat Semi" charset="0"/>
                <a:ea typeface="Montserrat Semi" charset="0"/>
                <a:cs typeface="Montserrat Semi" charset="0"/>
              </a:rPr>
              <a:t>executives</a:t>
            </a:r>
            <a:r>
              <a:rPr lang="fr-CA" sz="4800" b="1" dirty="0">
                <a:solidFill>
                  <a:schemeClr val="bg1"/>
                </a:solidFill>
                <a:latin typeface="Montserrat Semi" charset="0"/>
                <a:ea typeface="Montserrat Semi" charset="0"/>
                <a:cs typeface="Montserrat Semi" charset="0"/>
              </a:rPr>
              <a:t> by </a:t>
            </a:r>
            <a:br>
              <a:rPr lang="fr-CA" sz="4800" b="1" dirty="0">
                <a:solidFill>
                  <a:schemeClr val="bg1"/>
                </a:solidFill>
                <a:latin typeface="Montserrat Semi" charset="0"/>
                <a:ea typeface="Montserrat Semi" charset="0"/>
                <a:cs typeface="Montserrat Semi" charset="0"/>
              </a:rPr>
            </a:br>
            <a:r>
              <a:rPr lang="fr-CA" sz="4800" b="1" dirty="0">
                <a:solidFill>
                  <a:schemeClr val="bg1"/>
                </a:solidFill>
                <a:latin typeface="Montserrat Semi" charset="0"/>
                <a:ea typeface="Montserrat Semi" charset="0"/>
                <a:cs typeface="Montserrat Semi" charset="0"/>
              </a:rPr>
              <a:t>Executive Learning </a:t>
            </a:r>
            <a:br>
              <a:rPr lang="fr-CA" sz="4800" b="1" dirty="0">
                <a:solidFill>
                  <a:schemeClr val="bg1"/>
                </a:solidFill>
                <a:latin typeface="Montserrat Semi" charset="0"/>
                <a:ea typeface="Montserrat Semi" charset="0"/>
                <a:cs typeface="Montserrat Semi" charset="0"/>
              </a:rPr>
            </a:br>
            <a:r>
              <a:rPr lang="fr-CA" sz="3600" b="1" dirty="0">
                <a:solidFill>
                  <a:schemeClr val="bg1"/>
                </a:solidFill>
                <a:latin typeface="Montserrat Semi" charset="0"/>
                <a:ea typeface="Montserrat Semi" charset="0"/>
                <a:cs typeface="Montserrat Semi" charset="0"/>
              </a:rPr>
              <a:t>at the Canada </a:t>
            </a:r>
            <a:r>
              <a:rPr lang="fr-CA" sz="3600" b="1" dirty="0" err="1">
                <a:solidFill>
                  <a:schemeClr val="bg1"/>
                </a:solidFill>
                <a:latin typeface="Montserrat Semi" charset="0"/>
                <a:ea typeface="Montserrat Semi" charset="0"/>
                <a:cs typeface="Montserrat Semi" charset="0"/>
              </a:rPr>
              <a:t>School</a:t>
            </a:r>
            <a:r>
              <a:rPr lang="fr-CA" sz="3600" b="1" dirty="0">
                <a:solidFill>
                  <a:schemeClr val="bg1"/>
                </a:solidFill>
                <a:latin typeface="Montserrat Semi" charset="0"/>
                <a:ea typeface="Montserrat Semi" charset="0"/>
                <a:cs typeface="Montserrat Semi" charset="0"/>
              </a:rPr>
              <a:t> of Public Service</a:t>
            </a:r>
          </a:p>
        </p:txBody>
      </p:sp>
      <p:sp>
        <p:nvSpPr>
          <p:cNvPr id="6" name="TextBox 5"/>
          <p:cNvSpPr txBox="1"/>
          <p:nvPr/>
        </p:nvSpPr>
        <p:spPr>
          <a:xfrm>
            <a:off x="701405" y="4862232"/>
            <a:ext cx="11196070" cy="984885"/>
          </a:xfrm>
          <a:prstGeom prst="rect">
            <a:avLst/>
          </a:prstGeom>
          <a:noFill/>
        </p:spPr>
        <p:txBody>
          <a:bodyPr wrap="square" rtlCol="0" anchor="t">
            <a:spAutoFit/>
          </a:bodyPr>
          <a:lstStyle/>
          <a:p>
            <a:pPr>
              <a:defRPr/>
            </a:pPr>
            <a:r>
              <a:rPr lang="en-US" sz="2000" dirty="0">
                <a:solidFill>
                  <a:schemeClr val="bg1">
                    <a:lumMod val="85000"/>
                  </a:schemeClr>
                </a:solidFill>
                <a:ea typeface="Lato Light" charset="0"/>
                <a:cs typeface="Lato Light" charset="0"/>
              </a:rPr>
              <a:t>If you have questions or comments on this activity, please contact your Executive Learning Concierge at:</a:t>
            </a:r>
          </a:p>
          <a:p>
            <a:pPr lvl="0"/>
            <a:r>
              <a:rPr lang="fr-CA" sz="2000" dirty="0">
                <a:solidFill>
                  <a:srgbClr val="660033"/>
                </a:solidFill>
                <a:ea typeface="Lato Light" charset="0"/>
                <a:cs typeface="Lato Light" charset="0"/>
              </a:rPr>
              <a:t> </a:t>
            </a:r>
            <a:r>
              <a:rPr lang="fr-CA" sz="2000" dirty="0" smtClean="0">
                <a:solidFill>
                  <a:srgbClr val="660033"/>
                </a:solidFill>
                <a:ea typeface="Lato Light" charset="0"/>
                <a:cs typeface="Lato Light" charset="0"/>
                <a:hlinkClick r:id="rId3"/>
              </a:rPr>
              <a:t>executivelearning-apprentissagepourlescadres@csps-efpc.gc.ca</a:t>
            </a:r>
            <a:endParaRPr lang="fr-CA" sz="2000" dirty="0">
              <a:solidFill>
                <a:srgbClr val="660033"/>
              </a:solidFill>
              <a:ea typeface="Lato Light" charset="0"/>
              <a:cs typeface="Lato Light" charset="0"/>
            </a:endParaRPr>
          </a:p>
          <a:p>
            <a:pPr lvl="0"/>
            <a:endParaRPr kumimoji="0" lang="en-US" b="0" i="0" u="none" strike="noStrike" kern="1200" cap="none" spc="0" normalizeH="0" baseline="0" noProof="0" dirty="0">
              <a:ln>
                <a:noFill/>
              </a:ln>
              <a:solidFill>
                <a:srgbClr val="660033"/>
              </a:solidFill>
              <a:effectLst/>
              <a:uLnTx/>
              <a:uFillTx/>
              <a:latin typeface="Calibri Light" panose="020F0302020204030204"/>
              <a:ea typeface="Lato Light" charset="0"/>
              <a:cs typeface="Lato Light" charset="0"/>
            </a:endParaRPr>
          </a:p>
        </p:txBody>
      </p:sp>
    </p:spTree>
    <p:extLst>
      <p:ext uri="{BB962C8B-B14F-4D97-AF65-F5344CB8AC3E}">
        <p14:creationId xmlns:p14="http://schemas.microsoft.com/office/powerpoint/2010/main" val="30701325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6748873|-8341960|-3468525|-2064878|-9539986|Markido&quot;,&quot;Id&quot;:&quot;5e972f9b414238566cdd8db3&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y Design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y Design Theme" id="{3B7B0E49-1F4B-425D-80CC-B584C3FE33F6}" vid="{8EEDF264-D36A-41F4-9330-0A9F76165A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6E885A4EAD3B34FA6F7339F6B7E6C29" ma:contentTypeVersion="8" ma:contentTypeDescription="Create a new document." ma:contentTypeScope="" ma:versionID="468e1c0597b5bedf33e7114f97505f79">
  <xsd:schema xmlns:xsd="http://www.w3.org/2001/XMLSchema" xmlns:xs="http://www.w3.org/2001/XMLSchema" xmlns:p="http://schemas.microsoft.com/office/2006/metadata/properties" xmlns:ns2="aa4509d7-40f3-4194-9352-72a14d08458e" targetNamespace="http://schemas.microsoft.com/office/2006/metadata/properties" ma:root="true" ma:fieldsID="914b4d6fd898e5dae175f30bfe5038c4" ns2:_="">
    <xsd:import namespace="aa4509d7-40f3-4194-9352-72a14d08458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4509d7-40f3-4194-9352-72a14d0845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6C32055-3832-494A-9F43-5ADE07ABBF56}">
  <ds:schemaRefs>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aa4509d7-40f3-4194-9352-72a14d08458e"/>
    <ds:schemaRef ds:uri="http://schemas.microsoft.com/office/2006/documentManagement/types"/>
    <ds:schemaRef ds:uri="http://purl.org/dc/elements/1.1/"/>
    <ds:schemaRef ds:uri="http://www.w3.org/XML/1998/namespace"/>
  </ds:schemaRefs>
</ds:datastoreItem>
</file>

<file path=customXml/itemProps2.xml><?xml version="1.0" encoding="utf-8"?>
<ds:datastoreItem xmlns:ds="http://schemas.openxmlformats.org/officeDocument/2006/customXml" ds:itemID="{AB7F5EF1-97F8-4E36-83D3-A31E195986E5}">
  <ds:schemaRefs>
    <ds:schemaRef ds:uri="http://schemas.microsoft.com/sharepoint/v3/contenttype/forms"/>
  </ds:schemaRefs>
</ds:datastoreItem>
</file>

<file path=customXml/itemProps3.xml><?xml version="1.0" encoding="utf-8"?>
<ds:datastoreItem xmlns:ds="http://schemas.openxmlformats.org/officeDocument/2006/customXml" ds:itemID="{35630394-EE43-4DAA-A9DF-528E51A6E1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4509d7-40f3-4194-9352-72a14d0845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1</TotalTime>
  <Words>828</Words>
  <Application>Microsoft Office PowerPoint</Application>
  <PresentationFormat>Widescreen</PresentationFormat>
  <Paragraphs>150</Paragraphs>
  <Slides>8</Slides>
  <Notes>7</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8" baseType="lpstr">
      <vt:lpstr>Arial</vt:lpstr>
      <vt:lpstr>Calibri</vt:lpstr>
      <vt:lpstr>Calibri Light</vt:lpstr>
      <vt:lpstr>Century Gothic</vt:lpstr>
      <vt:lpstr>Ebrima</vt:lpstr>
      <vt:lpstr>Lato Light</vt:lpstr>
      <vt:lpstr>Montserrat Semi</vt:lpstr>
      <vt:lpstr>Roboto Medium</vt:lpstr>
      <vt:lpstr>By Design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Government of Canada|Gouvernement du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m Mellor</dc:creator>
  <cp:lastModifiedBy>Sylvie Soucy</cp:lastModifiedBy>
  <cp:revision>128</cp:revision>
  <dcterms:created xsi:type="dcterms:W3CDTF">2020-03-27T13:12:02Z</dcterms:created>
  <dcterms:modified xsi:type="dcterms:W3CDTF">2021-07-14T15:3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E885A4EAD3B34FA6F7339F6B7E6C29</vt:lpwstr>
  </property>
</Properties>
</file>